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Default Extension="xlsx" ContentType="application/vnd.openxmlformats-officedocument.spreadsheetml.sheet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9" r:id="rId5"/>
  </p:sldMasterIdLst>
  <p:notesMasterIdLst>
    <p:notesMasterId r:id="rId14"/>
  </p:notesMasterIdLst>
  <p:sldIdLst>
    <p:sldId id="323" r:id="rId6"/>
    <p:sldId id="359" r:id="rId7"/>
    <p:sldId id="365" r:id="rId8"/>
    <p:sldId id="366" r:id="rId9"/>
    <p:sldId id="371" r:id="rId10"/>
    <p:sldId id="373" r:id="rId11"/>
    <p:sldId id="364" r:id="rId12"/>
    <p:sldId id="350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9B54A"/>
    <a:srgbClr val="74A939"/>
    <a:srgbClr val="A9B4BB"/>
    <a:srgbClr val="93220B"/>
    <a:srgbClr val="F79646"/>
    <a:srgbClr val="00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67667" autoAdjust="0"/>
  </p:normalViewPr>
  <p:slideViewPr>
    <p:cSldViewPr snapToGrid="0" showGuides="1">
      <p:cViewPr varScale="1">
        <p:scale>
          <a:sx n="48" d="100"/>
          <a:sy n="48" d="100"/>
        </p:scale>
        <p:origin x="-1710" y="-102"/>
      </p:cViewPr>
      <p:guideLst>
        <p:guide orient="horz" pos="796"/>
        <p:guide pos="29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48" y="-78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title>
      <c:layout/>
    </c:title>
    <c:view3D>
      <c:rotX val="0"/>
      <c:rotY val="10"/>
      <c:depthPercent val="100"/>
      <c:perspective val="50"/>
    </c:view3D>
    <c:floor>
      <c:spPr>
        <a:solidFill>
          <a:srgbClr val="000000">
            <a:lumMod val="75000"/>
            <a:lumOff val="25000"/>
          </a:srgbClr>
        </a:solidFill>
      </c:spPr>
    </c:floor>
    <c:sideWall>
      <c:spPr>
        <a:gradFill flip="none" rotWithShape="1">
          <a:gsLst>
            <a:gs pos="0">
              <a:srgbClr val="000000">
                <a:lumMod val="85000"/>
                <a:lumOff val="15000"/>
              </a:srgbClr>
            </a:gs>
            <a:gs pos="63000">
              <a:srgbClr val="000000">
                <a:lumMod val="85000"/>
                <a:lumOff val="15000"/>
              </a:srgbClr>
            </a:gs>
          </a:gsLst>
          <a:lin ang="0" scaled="1"/>
          <a:tileRect/>
        </a:gradFill>
        <a:ln w="12695">
          <a:noFill/>
          <a:prstDash val="solid"/>
        </a:ln>
      </c:spPr>
    </c:sideWall>
    <c:backWall>
      <c:spPr>
        <a:gradFill flip="none" rotWithShape="1">
          <a:gsLst>
            <a:gs pos="0">
              <a:srgbClr val="000000">
                <a:lumMod val="85000"/>
                <a:lumOff val="15000"/>
              </a:srgbClr>
            </a:gs>
            <a:gs pos="63000">
              <a:srgbClr val="000000">
                <a:lumMod val="85000"/>
                <a:lumOff val="15000"/>
              </a:srgbClr>
            </a:gs>
          </a:gsLst>
          <a:lin ang="0" scaled="1"/>
          <a:tileRect/>
        </a:gradFill>
        <a:ln w="12695">
          <a:noFill/>
          <a:prstDash val="solid"/>
        </a:ln>
      </c:spPr>
    </c:backWall>
    <c:plotArea>
      <c:layout>
        <c:manualLayout>
          <c:layoutTarget val="inner"/>
          <c:xMode val="edge"/>
          <c:yMode val="edge"/>
          <c:x val="9.3015205501547266E-2"/>
          <c:y val="4.7945222125012163E-2"/>
          <c:w val="0.8768361581920906"/>
          <c:h val="0.84474885844751035"/>
        </c:manualLayout>
      </c:layout>
      <c:area3DChart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38085">
              <a:noFill/>
              <a:prstDash val="solid"/>
            </a:ln>
          </c:spPr>
          <c:cat>
            <c:numRef>
              <c:f>Sheet1!$B$1:$AE$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Sheet1!$B$2:$T$2</c:f>
              <c:numCache>
                <c:formatCode>General</c:formatCode>
                <c:ptCount val="19"/>
                <c:pt idx="0">
                  <c:v>5.8500000000000114E-3</c:v>
                </c:pt>
                <c:pt idx="1">
                  <c:v>1.1710000000000026E-2</c:v>
                </c:pt>
                <c:pt idx="2">
                  <c:v>2.3400000000000011E-2</c:v>
                </c:pt>
                <c:pt idx="3">
                  <c:v>4.6800000000000022E-2</c:v>
                </c:pt>
                <c:pt idx="4">
                  <c:v>9.3000000000000291E-2</c:v>
                </c:pt>
                <c:pt idx="5">
                  <c:v>0.87000000000000133</c:v>
                </c:pt>
                <c:pt idx="6">
                  <c:v>8.782</c:v>
                </c:pt>
                <c:pt idx="7">
                  <c:v>19.029</c:v>
                </c:pt>
                <c:pt idx="8">
                  <c:v>38.058100000000003</c:v>
                </c:pt>
                <c:pt idx="9">
                  <c:v>76.11</c:v>
                </c:pt>
                <c:pt idx="10">
                  <c:v>161.01499999999999</c:v>
                </c:pt>
                <c:pt idx="11">
                  <c:v>322.02999999999969</c:v>
                </c:pt>
                <c:pt idx="12">
                  <c:v>644.06099999999947</c:v>
                </c:pt>
                <c:pt idx="13">
                  <c:v>995.36699999999792</c:v>
                </c:pt>
                <c:pt idx="14">
                  <c:v>1463.7750000000001</c:v>
                </c:pt>
                <c:pt idx="15">
                  <c:v>2342.04</c:v>
                </c:pt>
                <c:pt idx="16">
                  <c:v>3339</c:v>
                </c:pt>
                <c:pt idx="17">
                  <c:v>4884</c:v>
                </c:pt>
                <c:pt idx="18">
                  <c:v>8140</c:v>
                </c:pt>
              </c:numCache>
            </c:numRef>
          </c:val>
        </c:ser>
        <c:axId val="158114944"/>
        <c:axId val="158116480"/>
        <c:axId val="0"/>
      </c:area3DChart>
      <c:catAx>
        <c:axId val="158114944"/>
        <c:scaling>
          <c:orientation val="minMax"/>
        </c:scaling>
        <c:delete val="1"/>
        <c:axPos val="b"/>
        <c:numFmt formatCode="General" sourceLinked="1"/>
        <c:tickLblPos val="none"/>
        <c:crossAx val="158116480"/>
        <c:crossesAt val="0"/>
        <c:auto val="1"/>
        <c:lblAlgn val="ctr"/>
        <c:lblOffset val="100"/>
        <c:tickLblSkip val="2"/>
      </c:catAx>
      <c:valAx>
        <c:axId val="158116480"/>
        <c:scaling>
          <c:orientation val="minMax"/>
          <c:min val="0"/>
        </c:scaling>
        <c:axPos val="l"/>
        <c:majorGridlines>
          <c:spPr>
            <a:ln>
              <a:solidFill>
                <a:srgbClr val="000000">
                  <a:lumMod val="65000"/>
                  <a:lumOff val="35000"/>
                </a:srgbClr>
              </a:solidFill>
            </a:ln>
          </c:spPr>
        </c:majorGridlines>
        <c:numFmt formatCode="&quot;&quot;#,##0&quot;&quot;;&quot;&quot;\-&quot;&quot;#,##0&quot;&quot;" sourceLinked="0"/>
        <c:tickLblPos val="none"/>
        <c:crossAx val="158114944"/>
        <c:crossesAt val="1990"/>
        <c:crossBetween val="midCat"/>
        <c:dispUnits>
          <c:builtInUnit val="thousands"/>
        </c:dispUnits>
      </c:valAx>
    </c:plotArea>
    <c:plotVisOnly val="1"/>
    <c:dispBlanksAs val="zero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10"/>
      <c:perspective val="50"/>
    </c:view3D>
    <c:floor>
      <c:spPr>
        <a:noFill/>
        <a:ln w="9525">
          <a:noFill/>
        </a:ln>
      </c:spPr>
    </c:floor>
    <c:sideWall>
      <c:spPr>
        <a:gradFill flip="none" rotWithShape="1">
          <a:gsLst>
            <a:gs pos="0">
              <a:srgbClr val="000000">
                <a:lumMod val="85000"/>
                <a:lumOff val="15000"/>
              </a:srgbClr>
            </a:gs>
            <a:gs pos="63000">
              <a:srgbClr val="000000">
                <a:lumMod val="85000"/>
                <a:lumOff val="15000"/>
              </a:srgbClr>
            </a:gs>
          </a:gsLst>
          <a:lin ang="0" scaled="1"/>
          <a:tileRect/>
        </a:gradFill>
        <a:ln w="12695">
          <a:noFill/>
          <a:prstDash val="solid"/>
        </a:ln>
      </c:spPr>
    </c:sideWall>
    <c:backWall>
      <c:spPr>
        <a:gradFill flip="none" rotWithShape="1">
          <a:gsLst>
            <a:gs pos="0">
              <a:srgbClr val="000000">
                <a:lumMod val="85000"/>
                <a:lumOff val="15000"/>
              </a:srgbClr>
            </a:gs>
            <a:gs pos="63000">
              <a:srgbClr val="000000">
                <a:lumMod val="85000"/>
                <a:lumOff val="15000"/>
              </a:srgbClr>
            </a:gs>
          </a:gsLst>
          <a:lin ang="0" scaled="1"/>
          <a:tileRect/>
        </a:gradFill>
        <a:ln w="12695">
          <a:noFill/>
          <a:prstDash val="solid"/>
        </a:ln>
      </c:spPr>
    </c:backWall>
    <c:plotArea>
      <c:layout>
        <c:manualLayout>
          <c:layoutTarget val="inner"/>
          <c:xMode val="edge"/>
          <c:yMode val="edge"/>
          <c:x val="9.3015205501547266E-2"/>
          <c:y val="4.7945222125012163E-2"/>
          <c:w val="0.8768361581920906"/>
          <c:h val="0.84474885844750958"/>
        </c:manualLayout>
      </c:layout>
      <c:area3DChart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38085">
              <a:noFill/>
              <a:prstDash val="solid"/>
            </a:ln>
          </c:spPr>
          <c:cat>
            <c:numRef>
              <c:f>Sheet1!$B$1:$S$1</c:f>
              <c:numCache>
                <c:formatCode>General</c:formatCode>
                <c:ptCount val="18"/>
                <c:pt idx="0">
                  <c:v>2003.0000000002281</c:v>
                </c:pt>
                <c:pt idx="1">
                  <c:v>2004.0000000002281</c:v>
                </c:pt>
                <c:pt idx="2">
                  <c:v>2005.0000000002281</c:v>
                </c:pt>
                <c:pt idx="3">
                  <c:v>2006.0000000002281</c:v>
                </c:pt>
                <c:pt idx="4">
                  <c:v>2007.0000000002283</c:v>
                </c:pt>
                <c:pt idx="5">
                  <c:v>2008.0000000002283</c:v>
                </c:pt>
                <c:pt idx="6">
                  <c:v>2009.0000000002283</c:v>
                </c:pt>
                <c:pt idx="7">
                  <c:v>2010.0000000002285</c:v>
                </c:pt>
                <c:pt idx="8">
                  <c:v>2011.0000000002287</c:v>
                </c:pt>
                <c:pt idx="9">
                  <c:v>2012.0000000002287</c:v>
                </c:pt>
                <c:pt idx="10">
                  <c:v>2013.0000000002287</c:v>
                </c:pt>
                <c:pt idx="11">
                  <c:v>2014.0000000002301</c:v>
                </c:pt>
                <c:pt idx="12">
                  <c:v>2015.0000000002301</c:v>
                </c:pt>
                <c:pt idx="13">
                  <c:v>2016.0000000002301</c:v>
                </c:pt>
                <c:pt idx="14">
                  <c:v>2017.0000000002301</c:v>
                </c:pt>
                <c:pt idx="15">
                  <c:v>2018.0000000002301</c:v>
                </c:pt>
                <c:pt idx="16">
                  <c:v>2019.0000000002301</c:v>
                </c:pt>
                <c:pt idx="17">
                  <c:v>2020.0000000002301</c:v>
                </c:pt>
              </c:numCache>
            </c:numRef>
          </c:cat>
          <c:val>
            <c:numRef>
              <c:f>Sheet1!$B$2:$S$2</c:f>
              <c:numCache>
                <c:formatCode>General</c:formatCode>
                <c:ptCount val="18"/>
              </c:numCache>
            </c:numRef>
          </c:val>
        </c:ser>
        <c:axId val="160899072"/>
        <c:axId val="160900608"/>
        <c:axId val="0"/>
      </c:area3DChart>
      <c:catAx>
        <c:axId val="160899072"/>
        <c:scaling>
          <c:orientation val="minMax"/>
        </c:scaling>
        <c:delete val="1"/>
        <c:axPos val="b"/>
        <c:numFmt formatCode="General" sourceLinked="1"/>
        <c:tickLblPos val="none"/>
        <c:crossAx val="160900608"/>
        <c:crossesAt val="0"/>
        <c:auto val="1"/>
        <c:lblAlgn val="ctr"/>
        <c:lblOffset val="100"/>
        <c:tickLblSkip val="2"/>
      </c:catAx>
      <c:valAx>
        <c:axId val="160900608"/>
        <c:scaling>
          <c:orientation val="minMax"/>
          <c:max val="240000"/>
          <c:min val="0"/>
        </c:scaling>
        <c:delete val="1"/>
        <c:axPos val="l"/>
        <c:majorGridlines>
          <c:spPr>
            <a:ln>
              <a:solidFill>
                <a:srgbClr val="000000">
                  <a:lumMod val="65000"/>
                  <a:lumOff val="35000"/>
                </a:srgbClr>
              </a:solidFill>
            </a:ln>
          </c:spPr>
        </c:majorGridlines>
        <c:numFmt formatCode="&quot;&quot;#,##0&quot;&quot;;&quot;&quot;\-&quot;&quot;#,##0&quot;&quot;" sourceLinked="0"/>
        <c:tickLblPos val="none"/>
        <c:crossAx val="160899072"/>
        <c:crossesAt val="1990"/>
        <c:crossBetween val="midCat"/>
        <c:majorUnit val="20000"/>
      </c:valAx>
    </c:plotArea>
    <c:plotVisOnly val="1"/>
    <c:dispBlanksAs val="zero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2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FAD62B-3CDF-4276-8247-5D48DFFB7DF2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9505" y="4343399"/>
            <a:ext cx="6450677" cy="44680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1243"/>
            <a:ext cx="2971800" cy="23116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911243"/>
            <a:ext cx="2971800" cy="23116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7371AC-C9E0-459F-9059-EEF6B96EC6CC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371AC-C9E0-459F-9059-EEF6B96EC6CC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99505" y="4343399"/>
            <a:ext cx="6658495" cy="4468091"/>
          </a:xfrm>
        </p:spPr>
        <p:txBody>
          <a:bodyPr>
            <a:normAutofit fontScale="92500" lnSpcReduction="10000"/>
          </a:bodyPr>
          <a:lstStyle/>
          <a:p>
            <a:pPr marL="8105" lvl="1"/>
            <a:endParaRPr lang="en-US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371AC-C9E0-459F-9059-EEF6B96EC6CC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lvl="1"/>
            <a:endParaRPr lang="en-US" sz="1800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371AC-C9E0-459F-9059-EEF6B96EC6CC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 txBox="1">
            <a:spLocks noGrp="1" noChangeArrowheads="1"/>
          </p:cNvSpPr>
          <p:nvPr/>
        </p:nvSpPr>
        <p:spPr bwMode="auto">
          <a:xfrm>
            <a:off x="3884590" y="8685469"/>
            <a:ext cx="2971852" cy="456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8" rIns="91415" bIns="45708" anchor="b"/>
          <a:lstStyle/>
          <a:p>
            <a:pPr algn="r" defTabSz="911988"/>
            <a:fld id="{881826F4-9026-4AD3-A807-46483A3AADA1}" type="slidenum">
              <a:rPr lang="en-US" sz="1200"/>
              <a:pPr algn="r" defTabSz="911988"/>
              <a:t>4</a:t>
            </a:fld>
            <a:endParaRPr lang="en-US" sz="1200" dirty="0"/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7506" y="4342736"/>
            <a:ext cx="6329549" cy="4115817"/>
          </a:xfrm>
          <a:noFill/>
          <a:ln/>
        </p:spPr>
        <p:txBody>
          <a:bodyPr lIns="91415" tIns="45708" rIns="91415" bIns="45708"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371AC-C9E0-459F-9059-EEF6B96EC6CC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50101" indent="-350101"/>
            <a:endParaRPr lang="en-US" b="1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371AC-C9E0-459F-9059-EEF6B96EC6CC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371AC-C9E0-459F-9059-EEF6B96EC6CC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371AC-C9E0-459F-9059-EEF6B96EC6CC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bg>
      <p:bgPr>
        <a:gradFill flip="none" rotWithShape="1">
          <a:gsLst>
            <a:gs pos="100000">
              <a:srgbClr val="374046"/>
            </a:gs>
            <a:gs pos="0">
              <a:srgbClr val="1F2427"/>
            </a:gs>
            <a:gs pos="100000">
              <a:srgbClr val="E8E1D4">
                <a:alpha val="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Stock_000005502090Medium.jpg"/>
          <p:cNvPicPr>
            <a:picLocks noChangeAspect="1"/>
          </p:cNvPicPr>
          <p:nvPr userDrawn="1"/>
        </p:nvPicPr>
        <p:blipFill>
          <a:blip r:embed="rId2" cstate="print"/>
          <a:srcRect r="11190" b="11828"/>
          <a:stretch>
            <a:fillRect/>
          </a:stretch>
        </p:blipFill>
        <p:spPr>
          <a:xfrm>
            <a:off x="-1" y="891848"/>
            <a:ext cx="9144001" cy="604683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2587911"/>
            <a:ext cx="9144000" cy="4350774"/>
          </a:xfrm>
          <a:prstGeom prst="rect">
            <a:avLst/>
          </a:prstGeom>
          <a:gradFill>
            <a:gsLst>
              <a:gs pos="54000">
                <a:schemeClr val="bg1">
                  <a:lumMod val="85000"/>
                  <a:lumOff val="15000"/>
                </a:schemeClr>
              </a:gs>
              <a:gs pos="100000">
                <a:schemeClr val="bg1">
                  <a:lumMod val="95000"/>
                  <a:lumOff val="5000"/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0978" y="3879589"/>
            <a:ext cx="5106757" cy="1455788"/>
          </a:xfrm>
        </p:spPr>
        <p:txBody>
          <a:bodyPr>
            <a:noAutofit/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defRPr lang="en-US" sz="3200" b="1" cap="all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0978" y="5536545"/>
            <a:ext cx="5096073" cy="372291"/>
          </a:xfrm>
        </p:spPr>
        <p:txBody>
          <a:bodyPr>
            <a:noAutofit/>
          </a:bodyPr>
          <a:lstStyle>
            <a:lvl1pPr marL="0" indent="0" algn="l" defTabSz="457200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Tx/>
              <a:buFontTx/>
              <a:buNone/>
              <a:defRPr lang="en-US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8" descr="juniper_logo_w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86600" y="227827"/>
            <a:ext cx="2057400" cy="527538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bg>
      <p:bgPr>
        <a:gradFill flip="none" rotWithShape="1">
          <a:gsLst>
            <a:gs pos="100000">
              <a:srgbClr val="374046"/>
            </a:gs>
            <a:gs pos="0">
              <a:srgbClr val="1F2427"/>
            </a:gs>
            <a:gs pos="100000">
              <a:srgbClr val="E8E1D4">
                <a:alpha val="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ine 7"/>
          <p:cNvSpPr>
            <a:spLocks noChangeShapeType="1"/>
          </p:cNvSpPr>
          <p:nvPr userDrawn="1"/>
        </p:nvSpPr>
        <p:spPr bwMode="auto">
          <a:xfrm>
            <a:off x="450850" y="6232525"/>
            <a:ext cx="8240713" cy="0"/>
          </a:xfrm>
          <a:prstGeom prst="line">
            <a:avLst/>
          </a:prstGeom>
          <a:noFill/>
          <a:ln w="12700">
            <a:solidFill>
              <a:srgbClr val="BABCBE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pitchFamily="34" charset="0"/>
              <a:ea typeface="+mn-ea"/>
            </a:endParaRPr>
          </a:p>
        </p:txBody>
      </p:sp>
      <p:pic>
        <p:nvPicPr>
          <p:cNvPr id="12" name="Picture 11" descr="juniper_logo_w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590006" y="6342027"/>
            <a:ext cx="1168155" cy="299527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gradFill flip="none" rotWithShape="1">
          <a:gsLst>
            <a:gs pos="100000">
              <a:srgbClr val="374046"/>
            </a:gs>
            <a:gs pos="0">
              <a:srgbClr val="1F2427"/>
            </a:gs>
            <a:gs pos="100000">
              <a:srgbClr val="E8E1D4">
                <a:alpha val="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532888"/>
            <a:ext cx="7315200" cy="877824"/>
          </a:xfrm>
        </p:spPr>
        <p:txBody>
          <a:bodyPr>
            <a:noAutofit/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defRPr lang="en-US" sz="3200" b="1" cap="all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611880"/>
            <a:ext cx="5943600" cy="1051560"/>
          </a:xfrm>
        </p:spPr>
        <p:txBody>
          <a:bodyPr>
            <a:noAutofit/>
          </a:bodyPr>
          <a:lstStyle>
            <a:lvl1pPr marL="0" indent="0" algn="l" defTabSz="457200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Tx/>
              <a:buFontTx/>
              <a:buNone/>
              <a:defRPr lang="en-US" sz="2000" dirty="0" smtClean="0">
                <a:solidFill>
                  <a:srgbClr val="EAEAEA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 descr="lrg-ven-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invGray">
          <a:xfrm>
            <a:off x="6492874" y="924785"/>
            <a:ext cx="1722439" cy="470627"/>
          </a:xfrm>
          <a:prstGeom prst="rect">
            <a:avLst/>
          </a:prstGeom>
        </p:spPr>
      </p:pic>
      <p:pic>
        <p:nvPicPr>
          <p:cNvPr id="10" name="Picture 7" descr="blue-window"/>
          <p:cNvPicPr>
            <a:picLocks noChangeAspect="1" noChangeArrowheads="1"/>
          </p:cNvPicPr>
          <p:nvPr/>
        </p:nvPicPr>
        <p:blipFill>
          <a:blip r:embed="rId3" cstate="print"/>
          <a:srcRect b="37572"/>
          <a:stretch>
            <a:fillRect/>
          </a:stretch>
        </p:blipFill>
        <p:spPr bwMode="auto">
          <a:xfrm>
            <a:off x="450850" y="5468938"/>
            <a:ext cx="8242300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blue-window"/>
          <p:cNvPicPr>
            <a:picLocks noChangeAspect="1" noChangeArrowheads="1"/>
          </p:cNvPicPr>
          <p:nvPr/>
        </p:nvPicPr>
        <p:blipFill>
          <a:blip r:embed="rId3" cstate="print"/>
          <a:srcRect b="37572"/>
          <a:stretch>
            <a:fillRect/>
          </a:stretch>
        </p:blipFill>
        <p:spPr bwMode="auto">
          <a:xfrm>
            <a:off x="450850" y="5468938"/>
            <a:ext cx="8242300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blue-window"/>
          <p:cNvPicPr>
            <a:picLocks noChangeAspect="1" noChangeArrowheads="1"/>
          </p:cNvPicPr>
          <p:nvPr userDrawn="1"/>
        </p:nvPicPr>
        <p:blipFill>
          <a:blip r:embed="rId3" cstate="print"/>
          <a:srcRect b="37572"/>
          <a:stretch>
            <a:fillRect/>
          </a:stretch>
        </p:blipFill>
        <p:spPr bwMode="auto">
          <a:xfrm>
            <a:off x="450850" y="5468938"/>
            <a:ext cx="8242300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26"/>
              </a:spcAft>
              <a:defRPr lang="en-US" sz="2400" b="1" cap="all" baseline="0" dirty="0" smtClean="0">
                <a:solidFill>
                  <a:srgbClr val="C0C0C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363828" y="1160252"/>
            <a:ext cx="8229600" cy="4921371"/>
          </a:xfrm>
        </p:spPr>
        <p:txBody>
          <a:bodyPr/>
          <a:lstStyle>
            <a:lvl2pPr>
              <a:buClr>
                <a:srgbClr val="C0C0C0"/>
              </a:buClr>
              <a:defRPr/>
            </a:lvl2pPr>
            <a:lvl3pPr>
              <a:buClr>
                <a:srgbClr val="C0C0C0"/>
              </a:buClr>
              <a:defRPr/>
            </a:lvl3pPr>
            <a:lvl4pPr>
              <a:buClr>
                <a:srgbClr val="C0C0C0"/>
              </a:buClr>
              <a:defRPr/>
            </a:lvl4pPr>
            <a:lvl5pPr>
              <a:buClr>
                <a:srgbClr val="C0C0C0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defRPr lang="en-US" sz="2400" b="1" cap="all" baseline="0" dirty="0" smtClean="0">
                <a:solidFill>
                  <a:srgbClr val="C0C0C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everywhere-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349613" y="5518862"/>
            <a:ext cx="1868081" cy="318399"/>
          </a:xfrm>
          <a:prstGeom prst="rect">
            <a:avLst/>
          </a:prstGeom>
        </p:spPr>
      </p:pic>
      <p:pic>
        <p:nvPicPr>
          <p:cNvPr id="16" name="Picture 15" descr="everywhere-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349613" y="5518862"/>
            <a:ext cx="1868081" cy="318399"/>
          </a:xfrm>
          <a:prstGeom prst="rect">
            <a:avLst/>
          </a:prstGeom>
        </p:spPr>
      </p:pic>
      <p:grpSp>
        <p:nvGrpSpPr>
          <p:cNvPr id="2" name="Group 16"/>
          <p:cNvGrpSpPr/>
          <p:nvPr userDrawn="1"/>
        </p:nvGrpSpPr>
        <p:grpSpPr>
          <a:xfrm>
            <a:off x="3737219" y="2195643"/>
            <a:ext cx="4480475" cy="3754781"/>
            <a:chOff x="3737219" y="2195643"/>
            <a:chExt cx="4480475" cy="3754781"/>
          </a:xfrm>
        </p:grpSpPr>
        <p:pic>
          <p:nvPicPr>
            <p:cNvPr id="18" name="Picture 17" descr="everywhere-white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349613" y="5518862"/>
              <a:ext cx="1868081" cy="318399"/>
            </a:xfrm>
            <a:prstGeom prst="rect">
              <a:avLst/>
            </a:prstGeom>
          </p:spPr>
        </p:pic>
        <p:pic>
          <p:nvPicPr>
            <p:cNvPr id="19" name="Picture 18" descr="white_burst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3737219" y="2195643"/>
              <a:ext cx="3448540" cy="3754781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100000">
              <a:srgbClr val="374046"/>
            </a:gs>
            <a:gs pos="0">
              <a:srgbClr val="1F2427"/>
            </a:gs>
            <a:gs pos="100000">
              <a:srgbClr val="E8E1D4">
                <a:alpha val="0"/>
              </a:srgb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5488" y="256032"/>
            <a:ext cx="8220456" cy="740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</a:pPr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2832" y="1159914"/>
            <a:ext cx="8220456" cy="477316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Line 7"/>
          <p:cNvSpPr>
            <a:spLocks noChangeShapeType="1"/>
          </p:cNvSpPr>
          <p:nvPr userDrawn="1"/>
        </p:nvSpPr>
        <p:spPr bwMode="auto">
          <a:xfrm>
            <a:off x="450850" y="6232525"/>
            <a:ext cx="8240713" cy="0"/>
          </a:xfrm>
          <a:prstGeom prst="line">
            <a:avLst/>
          </a:prstGeom>
          <a:noFill/>
          <a:ln w="12700">
            <a:solidFill>
              <a:srgbClr val="BABCBE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pitchFamily="34" charset="0"/>
              <a:ea typeface="+mn-ea"/>
            </a:endParaRPr>
          </a:p>
        </p:txBody>
      </p:sp>
      <p:sp>
        <p:nvSpPr>
          <p:cNvPr id="20" name="Line 8"/>
          <p:cNvSpPr>
            <a:spLocks noChangeShapeType="1"/>
          </p:cNvSpPr>
          <p:nvPr userDrawn="1"/>
        </p:nvSpPr>
        <p:spPr bwMode="auto">
          <a:xfrm>
            <a:off x="450850" y="955675"/>
            <a:ext cx="8240713" cy="0"/>
          </a:xfrm>
          <a:prstGeom prst="line">
            <a:avLst/>
          </a:prstGeom>
          <a:noFill/>
          <a:ln w="12700">
            <a:solidFill>
              <a:srgbClr val="BABCBE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pitchFamily="34" charset="0"/>
              <a:ea typeface="+mn-ea"/>
            </a:endParaRPr>
          </a:p>
        </p:txBody>
      </p:sp>
      <p:sp>
        <p:nvSpPr>
          <p:cNvPr id="21" name="Line 9"/>
          <p:cNvSpPr>
            <a:spLocks noChangeShapeType="1"/>
          </p:cNvSpPr>
          <p:nvPr userDrawn="1"/>
        </p:nvSpPr>
        <p:spPr bwMode="auto">
          <a:xfrm>
            <a:off x="450850" y="238125"/>
            <a:ext cx="8240713" cy="0"/>
          </a:xfrm>
          <a:prstGeom prst="line">
            <a:avLst/>
          </a:prstGeom>
          <a:noFill/>
          <a:ln w="12700">
            <a:solidFill>
              <a:srgbClr val="BABCBE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pitchFamily="34" charset="0"/>
              <a:ea typeface="+mn-ea"/>
            </a:endParaRPr>
          </a:p>
        </p:txBody>
      </p:sp>
      <p:pic>
        <p:nvPicPr>
          <p:cNvPr id="11" name="Picture 10" descr="juniper_logo_w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7590006" y="6342027"/>
            <a:ext cx="1168155" cy="29952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51" r:id="rId4"/>
    <p:sldLayoutId id="2147483659" r:id="rId5"/>
    <p:sldLayoutId id="2147483667" r:id="rId6"/>
    <p:sldLayoutId id="2147483668" r:id="rId7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57200" rtl="0" eaLnBrk="1" fontAlgn="base" latinLnBrk="0" hangingPunct="1">
        <a:lnSpc>
          <a:spcPct val="90000"/>
        </a:lnSpc>
        <a:spcBef>
          <a:spcPct val="0"/>
        </a:spcBef>
        <a:spcAft>
          <a:spcPct val="20000"/>
        </a:spcAft>
        <a:buNone/>
        <a:defRPr lang="en-US" sz="2400" b="1" kern="1200" cap="all" baseline="0" dirty="0" smtClean="0">
          <a:solidFill>
            <a:srgbClr val="C0C0C0"/>
          </a:solidFill>
          <a:latin typeface="Arial" pitchFamily="34" charset="0"/>
          <a:ea typeface="+mj-ea"/>
          <a:cs typeface="+mj-cs"/>
        </a:defRPr>
      </a:lvl1pPr>
    </p:titleStyle>
    <p:bodyStyle>
      <a:lvl1pPr marL="114300" indent="-114300" algn="l" defTabSz="914400" rtl="0" eaLnBrk="1" latinLnBrk="0" hangingPunct="1">
        <a:spcBef>
          <a:spcPts val="800"/>
        </a:spcBef>
        <a:spcAft>
          <a:spcPts val="400"/>
        </a:spcAft>
        <a:buClr>
          <a:srgbClr val="374046"/>
        </a:buClr>
        <a:buSzPct val="25000"/>
        <a:buFont typeface="Arial" pitchFamily="34" charset="0"/>
        <a:buChar char=" "/>
        <a:defRPr lang="en-US" sz="22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569913" indent="-225425" algn="l" defTabSz="914400" rtl="0" eaLnBrk="1" latinLnBrk="0" hangingPunct="1">
        <a:spcBef>
          <a:spcPts val="0"/>
        </a:spcBef>
        <a:spcAft>
          <a:spcPts val="500"/>
        </a:spcAft>
        <a:buClr>
          <a:srgbClr val="C0C0C0"/>
        </a:buClr>
        <a:buSzPct val="90000"/>
        <a:buFont typeface="Wingdings" pitchFamily="2" charset="2"/>
        <a:buChar char="§"/>
        <a:defRPr lang="en-US" sz="20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854075" indent="-223838" algn="l" defTabSz="914400" rtl="0" eaLnBrk="1" latinLnBrk="0" hangingPunct="1">
        <a:spcBef>
          <a:spcPts val="0"/>
        </a:spcBef>
        <a:spcAft>
          <a:spcPts val="500"/>
        </a:spcAft>
        <a:buClr>
          <a:srgbClr val="C0C0C0"/>
        </a:buClr>
        <a:buSzPct val="90000"/>
        <a:buFont typeface="Wingdings" pitchFamily="2" charset="2"/>
        <a:buChar char="§"/>
        <a:defRPr lang="en-US" sz="18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147763" indent="-233363" algn="l" defTabSz="914400" rtl="0" eaLnBrk="1" latinLnBrk="0" hangingPunct="1">
        <a:spcBef>
          <a:spcPts val="0"/>
        </a:spcBef>
        <a:spcAft>
          <a:spcPts val="500"/>
        </a:spcAft>
        <a:buClr>
          <a:srgbClr val="C0C0C0"/>
        </a:buClr>
        <a:buFont typeface="Arial" pitchFamily="34" charset="0"/>
        <a:buChar char="–"/>
        <a:defRPr lang="en-US" sz="16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1431925" indent="-173038" algn="l" defTabSz="914400" rtl="0" eaLnBrk="1" latinLnBrk="0" hangingPunct="1">
        <a:spcBef>
          <a:spcPts val="0"/>
        </a:spcBef>
        <a:spcAft>
          <a:spcPts val="500"/>
        </a:spcAft>
        <a:buClr>
          <a:srgbClr val="C0C0C0"/>
        </a:buClr>
        <a:buFont typeface="Arial" pitchFamily="34" charset="0"/>
        <a:buChar char="-"/>
        <a:defRPr lang="en-US" sz="16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CA09B3-9709-492C-807F-8FA561AC026E}" type="datetimeFigureOut">
              <a:rPr lang="en-US" smtClean="0"/>
              <a:pPr/>
              <a:t>10/2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0A48FB-5885-45A5-8D86-0F59898908D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jpe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6.png"/><Relationship Id="rId18" Type="http://schemas.openxmlformats.org/officeDocument/2006/relationships/image" Target="../media/image13.png"/><Relationship Id="rId3" Type="http://schemas.openxmlformats.org/officeDocument/2006/relationships/image" Target="../media/image19.png"/><Relationship Id="rId21" Type="http://schemas.openxmlformats.org/officeDocument/2006/relationships/image" Target="../media/image9.png"/><Relationship Id="rId7" Type="http://schemas.openxmlformats.org/officeDocument/2006/relationships/image" Target="../media/image23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6.png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11" Type="http://schemas.openxmlformats.org/officeDocument/2006/relationships/image" Target="../media/image11.png"/><Relationship Id="rId5" Type="http://schemas.openxmlformats.org/officeDocument/2006/relationships/image" Target="../media/image21.png"/><Relationship Id="rId15" Type="http://schemas.openxmlformats.org/officeDocument/2006/relationships/image" Target="../media/image27.png"/><Relationship Id="rId10" Type="http://schemas.openxmlformats.org/officeDocument/2006/relationships/image" Target="../media/image10.png"/><Relationship Id="rId19" Type="http://schemas.openxmlformats.org/officeDocument/2006/relationships/image" Target="../media/image14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oleObject" Target="../embeddings/oleObject1.bin"/><Relationship Id="rId3" Type="http://schemas.openxmlformats.org/officeDocument/2006/relationships/tags" Target="../tags/tag2.xml"/><Relationship Id="rId21" Type="http://schemas.openxmlformats.org/officeDocument/2006/relationships/image" Target="../media/image29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1.xml"/><Relationship Id="rId16" Type="http://schemas.openxmlformats.org/officeDocument/2006/relationships/slideLayout" Target="../slideLayouts/slideLayout7.xml"/><Relationship Id="rId20" Type="http://schemas.openxmlformats.org/officeDocument/2006/relationships/image" Target="../media/image28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32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31.png"/><Relationship Id="rId10" Type="http://schemas.openxmlformats.org/officeDocument/2006/relationships/tags" Target="../tags/tag9.xml"/><Relationship Id="rId19" Type="http://schemas.openxmlformats.org/officeDocument/2006/relationships/chart" Target="../charts/chart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tags" Target="../tags/tag53.xml"/><Relationship Id="rId3" Type="http://schemas.openxmlformats.org/officeDocument/2006/relationships/tags" Target="../tags/tag17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42" Type="http://schemas.openxmlformats.org/officeDocument/2006/relationships/tags" Target="../tags/tag56.xml"/><Relationship Id="rId47" Type="http://schemas.openxmlformats.org/officeDocument/2006/relationships/image" Target="../media/image33.png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Relationship Id="rId46" Type="http://schemas.openxmlformats.org/officeDocument/2006/relationships/chart" Target="../charts/chart2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41" Type="http://schemas.openxmlformats.org/officeDocument/2006/relationships/tags" Target="../tags/tag55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tags" Target="../tags/tag54.xml"/><Relationship Id="rId45" Type="http://schemas.openxmlformats.org/officeDocument/2006/relationships/notesSlide" Target="../notesSlides/notesSlide5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43" Type="http://schemas.openxmlformats.org/officeDocument/2006/relationships/tags" Target="../tags/tag57.xml"/><Relationship Id="rId48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solidFill>
                  <a:schemeClr val="tx1"/>
                </a:solidFill>
              </a:rPr>
              <a:t>The breaking point</a:t>
            </a:r>
            <a:r>
              <a:rPr lang="en-US" dirty="0"/>
              <a:t>?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195" name="Rectangle 6"/>
          <p:cNvSpPr>
            <a:spLocks noGrp="1" noChangeArrowheads="1"/>
          </p:cNvSpPr>
          <p:nvPr>
            <p:ph type="subTitle" idx="1"/>
          </p:nvPr>
        </p:nvSpPr>
        <p:spPr>
          <a:ln/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tx1"/>
                </a:solidFill>
              </a:rPr>
              <a:t>Kevin Johnson</a:t>
            </a:r>
          </a:p>
          <a:p>
            <a:pPr eaLnBrk="1" hangingPunct="1"/>
            <a:r>
              <a:rPr lang="en-US" dirty="0" smtClean="0">
                <a:solidFill>
                  <a:schemeClr val="tx1"/>
                </a:solidFill>
              </a:rPr>
              <a:t>October 20</a:t>
            </a:r>
            <a:r>
              <a:rPr lang="en-US" baseline="30000" dirty="0" smtClean="0">
                <a:solidFill>
                  <a:schemeClr val="tx1"/>
                </a:solidFill>
              </a:rPr>
              <a:t>th</a:t>
            </a:r>
            <a:r>
              <a:rPr lang="en-US" dirty="0" smtClean="0">
                <a:solidFill>
                  <a:schemeClr val="tx1"/>
                </a:solidFill>
              </a:rPr>
              <a:t>, 2009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1"/>
          <p:cNvGrpSpPr/>
          <p:nvPr/>
        </p:nvGrpSpPr>
        <p:grpSpPr>
          <a:xfrm>
            <a:off x="475488" y="2906416"/>
            <a:ext cx="8235145" cy="931460"/>
            <a:chOff x="475488" y="3033365"/>
            <a:chExt cx="8235145" cy="931460"/>
          </a:xfrm>
        </p:grpSpPr>
        <p:sp>
          <p:nvSpPr>
            <p:cNvPr id="87" name="Rounded Rectangle 86"/>
            <p:cNvSpPr/>
            <p:nvPr/>
          </p:nvSpPr>
          <p:spPr>
            <a:xfrm rot="16200000">
              <a:off x="4162877" y="-604755"/>
              <a:ext cx="860368" cy="8235145"/>
            </a:xfrm>
            <a:prstGeom prst="roundRect">
              <a:avLst>
                <a:gd name="adj" fmla="val 14657"/>
              </a:avLst>
            </a:prstGeom>
            <a:gradFill flip="none" rotWithShape="1">
              <a:gsLst>
                <a:gs pos="14000">
                  <a:schemeClr val="accent1">
                    <a:tint val="66000"/>
                    <a:satMod val="160000"/>
                    <a:alpha val="0"/>
                  </a:schemeClr>
                </a:gs>
                <a:gs pos="99000">
                  <a:schemeClr val="accent1">
                    <a:tint val="23500"/>
                    <a:satMod val="160000"/>
                    <a:alpha val="26000"/>
                  </a:schemeClr>
                </a:gs>
              </a:gsLst>
              <a:lin ang="498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Rectangle 87"/>
            <p:cNvSpPr/>
            <p:nvPr/>
          </p:nvSpPr>
          <p:spPr>
            <a:xfrm>
              <a:off x="475488" y="3178907"/>
              <a:ext cx="3505200" cy="6647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Beijing Olympics Symbolizes the Emergence and Growth of New Economies Worldwide</a:t>
              </a:r>
            </a:p>
          </p:txBody>
        </p:sp>
        <p:pic>
          <p:nvPicPr>
            <p:cNvPr id="89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240384" y="3033365"/>
              <a:ext cx="1241946" cy="931460"/>
            </a:xfrm>
            <a:prstGeom prst="rect">
              <a:avLst/>
            </a:prstGeom>
            <a:noFill/>
            <a:ln w="34925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>
              <a:outerShdw blurRad="50800" dist="50800" dir="462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3" name="Group 30"/>
          <p:cNvGrpSpPr/>
          <p:nvPr/>
        </p:nvGrpSpPr>
        <p:grpSpPr>
          <a:xfrm>
            <a:off x="475488" y="1876417"/>
            <a:ext cx="8235145" cy="1010237"/>
            <a:chOff x="475488" y="2003366"/>
            <a:chExt cx="8235145" cy="1010237"/>
          </a:xfrm>
        </p:grpSpPr>
        <p:sp>
          <p:nvSpPr>
            <p:cNvPr id="83" name="Rounded Rectangle 82"/>
            <p:cNvSpPr/>
            <p:nvPr/>
          </p:nvSpPr>
          <p:spPr>
            <a:xfrm rot="16200000">
              <a:off x="4162877" y="-1605053"/>
              <a:ext cx="860368" cy="8235145"/>
            </a:xfrm>
            <a:prstGeom prst="roundRect">
              <a:avLst>
                <a:gd name="adj" fmla="val 14657"/>
              </a:avLst>
            </a:prstGeom>
            <a:gradFill flip="none" rotWithShape="1">
              <a:gsLst>
                <a:gs pos="14000">
                  <a:schemeClr val="accent1">
                    <a:tint val="66000"/>
                    <a:satMod val="160000"/>
                    <a:alpha val="0"/>
                  </a:schemeClr>
                </a:gs>
                <a:gs pos="99000">
                  <a:schemeClr val="accent1">
                    <a:tint val="23500"/>
                    <a:satMod val="160000"/>
                    <a:alpha val="26000"/>
                  </a:schemeClr>
                </a:gs>
              </a:gsLst>
              <a:lin ang="498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tangle 83"/>
            <p:cNvSpPr/>
            <p:nvPr/>
          </p:nvSpPr>
          <p:spPr>
            <a:xfrm>
              <a:off x="475488" y="2290920"/>
              <a:ext cx="3505200" cy="4431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Human Genome Project Successfully Maps Complete Human DNA</a:t>
              </a:r>
            </a:p>
          </p:txBody>
        </p:sp>
        <p:pic>
          <p:nvPicPr>
            <p:cNvPr id="85" name="Picture 84" descr="iStock_000002039299Small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520830" y="2003366"/>
              <a:ext cx="722831" cy="1010237"/>
            </a:xfrm>
            <a:prstGeom prst="rect">
              <a:avLst/>
            </a:prstGeom>
            <a:noFill/>
            <a:ln w="34925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>
              <a:outerShdw blurRad="50800" dist="50800" dir="462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9218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Decade Of Change</a:t>
            </a:r>
            <a:endParaRPr lang="en-US" dirty="0"/>
          </a:p>
        </p:txBody>
      </p:sp>
      <p:sp>
        <p:nvSpPr>
          <p:cNvPr id="19" name="Rounded Rectangle 18"/>
          <p:cNvSpPr/>
          <p:nvPr/>
        </p:nvSpPr>
        <p:spPr>
          <a:xfrm rot="16200000">
            <a:off x="3699493" y="-1030048"/>
            <a:ext cx="1794997" cy="8235145"/>
          </a:xfrm>
          <a:prstGeom prst="roundRect">
            <a:avLst>
              <a:gd name="adj" fmla="val 9082"/>
            </a:avLst>
          </a:prstGeom>
          <a:gradFill flip="none" rotWithShape="1">
            <a:gsLst>
              <a:gs pos="14000">
                <a:schemeClr val="accent1">
                  <a:tint val="66000"/>
                  <a:satMod val="160000"/>
                  <a:alpha val="0"/>
                </a:schemeClr>
              </a:gs>
              <a:gs pos="99000">
                <a:schemeClr val="accent1">
                  <a:tint val="23500"/>
                  <a:satMod val="160000"/>
                  <a:alpha val="26000"/>
                </a:schemeClr>
              </a:gs>
            </a:gsLst>
            <a:lin ang="498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475488" y="2415151"/>
            <a:ext cx="3505200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Human Genome Project Successfully Maps Complete Human DNA</a:t>
            </a:r>
          </a:p>
        </p:txBody>
      </p:sp>
      <p:pic>
        <p:nvPicPr>
          <p:cNvPr id="22" name="Picture 21" descr="iStock_000002039299Small.jpg"/>
          <p:cNvPicPr>
            <a:picLocks noChangeAspect="1"/>
          </p:cNvPicPr>
          <p:nvPr/>
        </p:nvPicPr>
        <p:blipFill>
          <a:blip r:embed="rId4" cstate="print">
            <a:lum contrast="20000"/>
          </a:blip>
          <a:stretch>
            <a:fillRect/>
          </a:stretch>
        </p:blipFill>
        <p:spPr>
          <a:xfrm>
            <a:off x="5768502" y="1585460"/>
            <a:ext cx="1796342" cy="2510588"/>
          </a:xfrm>
          <a:prstGeom prst="rect">
            <a:avLst/>
          </a:prstGeom>
          <a:noFill/>
          <a:ln w="34925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  <a:scene3d>
            <a:camera prst="perspectiveHeroicExtremeLeftFacing"/>
            <a:lightRig rig="threePt" dir="t"/>
          </a:scene3d>
        </p:spPr>
      </p:pic>
      <p:sp>
        <p:nvSpPr>
          <p:cNvPr id="24" name="Rounded Rectangle 23"/>
          <p:cNvSpPr/>
          <p:nvPr/>
        </p:nvSpPr>
        <p:spPr>
          <a:xfrm rot="16200000">
            <a:off x="3672598" y="-105998"/>
            <a:ext cx="1794997" cy="8235145"/>
          </a:xfrm>
          <a:prstGeom prst="roundRect">
            <a:avLst>
              <a:gd name="adj" fmla="val 9082"/>
            </a:avLst>
          </a:prstGeom>
          <a:gradFill flip="none" rotWithShape="1">
            <a:gsLst>
              <a:gs pos="14000">
                <a:schemeClr val="accent1">
                  <a:tint val="66000"/>
                  <a:satMod val="160000"/>
                  <a:alpha val="0"/>
                </a:schemeClr>
              </a:gs>
              <a:gs pos="99000">
                <a:schemeClr val="accent1">
                  <a:tint val="23500"/>
                  <a:satMod val="160000"/>
                  <a:alpha val="26000"/>
                </a:schemeClr>
              </a:gs>
            </a:gsLst>
            <a:lin ang="498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3" cstate="print">
            <a:lum contrast="20000"/>
          </a:blip>
          <a:srcRect t="12925"/>
          <a:stretch>
            <a:fillRect/>
          </a:stretch>
        </p:blipFill>
        <p:spPr bwMode="auto">
          <a:xfrm>
            <a:off x="4592241" y="2632731"/>
            <a:ext cx="3406005" cy="2224321"/>
          </a:xfrm>
          <a:prstGeom prst="rect">
            <a:avLst/>
          </a:prstGeom>
          <a:noFill/>
          <a:ln w="34925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  <a:scene3d>
            <a:camera prst="perspectiveHeroicExtremeLeftFacing"/>
            <a:lightRig rig="threePt" dir="t"/>
          </a:scene3d>
        </p:spPr>
      </p:pic>
      <p:sp>
        <p:nvSpPr>
          <p:cNvPr id="35" name="Rounded Rectangle 34"/>
          <p:cNvSpPr/>
          <p:nvPr/>
        </p:nvSpPr>
        <p:spPr>
          <a:xfrm rot="16200000">
            <a:off x="3232578" y="1183057"/>
            <a:ext cx="2728827" cy="8235145"/>
          </a:xfrm>
          <a:prstGeom prst="roundRect">
            <a:avLst>
              <a:gd name="adj" fmla="val 9082"/>
            </a:avLst>
          </a:prstGeom>
          <a:gradFill flip="none" rotWithShape="1">
            <a:gsLst>
              <a:gs pos="14000">
                <a:schemeClr val="accent1">
                  <a:tint val="66000"/>
                  <a:satMod val="160000"/>
                  <a:alpha val="0"/>
                </a:schemeClr>
              </a:gs>
              <a:gs pos="99000">
                <a:schemeClr val="accent1">
                  <a:tint val="23500"/>
                  <a:satMod val="160000"/>
                  <a:alpha val="26000"/>
                </a:schemeClr>
              </a:gs>
            </a:gsLst>
            <a:lin ang="498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/>
        </p:nvSpPr>
        <p:spPr>
          <a:xfrm>
            <a:off x="320040" y="1000245"/>
            <a:ext cx="4238625" cy="632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6000" dirty="0" smtClean="0">
                <a:solidFill>
                  <a:schemeClr val="tx1"/>
                </a:solidFill>
              </a:rPr>
              <a:t>1999–2009</a:t>
            </a:r>
          </a:p>
        </p:txBody>
      </p:sp>
      <p:sp>
        <p:nvSpPr>
          <p:cNvPr id="49" name="Rectangle 48"/>
          <p:cNvSpPr/>
          <p:nvPr/>
        </p:nvSpPr>
        <p:spPr>
          <a:xfrm>
            <a:off x="473774" y="4914441"/>
            <a:ext cx="4198113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The Digital </a:t>
            </a:r>
            <a:br>
              <a:rPr lang="en-US" sz="24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</a:br>
            <a:r>
              <a:rPr lang="en-US" sz="24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Decade</a:t>
            </a:r>
          </a:p>
          <a:p>
            <a:pPr>
              <a:lnSpc>
                <a:spcPct val="90000"/>
              </a:lnSpc>
            </a:pPr>
            <a:r>
              <a:rPr lang="en-US" sz="24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Arrives</a:t>
            </a:r>
          </a:p>
        </p:txBody>
      </p:sp>
      <p:sp>
        <p:nvSpPr>
          <p:cNvPr id="51" name="Rectangle 50"/>
          <p:cNvSpPr/>
          <p:nvPr/>
        </p:nvSpPr>
        <p:spPr>
          <a:xfrm>
            <a:off x="475487" y="3353752"/>
            <a:ext cx="4198113" cy="132959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Beijing Olympics Symbolizes the Emergence and Growth of New Economies Worldwide</a:t>
            </a:r>
          </a:p>
        </p:txBody>
      </p:sp>
      <p:grpSp>
        <p:nvGrpSpPr>
          <p:cNvPr id="4" name="Group 44"/>
          <p:cNvGrpSpPr/>
          <p:nvPr/>
        </p:nvGrpSpPr>
        <p:grpSpPr>
          <a:xfrm>
            <a:off x="2497201" y="4075032"/>
            <a:ext cx="5829590" cy="2498651"/>
            <a:chOff x="4655205" y="541937"/>
            <a:chExt cx="5829590" cy="2498651"/>
          </a:xfrm>
        </p:grpSpPr>
        <p:pic>
          <p:nvPicPr>
            <p:cNvPr id="46" name="Picture 45" descr="kindle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655205" y="654423"/>
              <a:ext cx="753513" cy="1042146"/>
            </a:xfrm>
            <a:prstGeom prst="rect">
              <a:avLst/>
            </a:prstGeom>
            <a:noFill/>
            <a:ln w="34925">
              <a:noFill/>
              <a:miter lim="800000"/>
              <a:headEnd/>
              <a:tailEnd/>
            </a:ln>
            <a:effectLst>
              <a:outerShdw blurRad="50800" dist="50800" dir="462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5" name="Group 74"/>
            <p:cNvGrpSpPr/>
            <p:nvPr/>
          </p:nvGrpSpPr>
          <p:grpSpPr>
            <a:xfrm>
              <a:off x="4878089" y="541937"/>
              <a:ext cx="5606706" cy="2498651"/>
              <a:chOff x="4154919" y="3630051"/>
              <a:chExt cx="4677655" cy="2084622"/>
            </a:xfrm>
          </p:grpSpPr>
          <p:pic>
            <p:nvPicPr>
              <p:cNvPr id="48" name="Picture 47" descr="iphone3g_home1322x2400.jpg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4154919" y="4758398"/>
                <a:ext cx="581956" cy="956275"/>
              </a:xfrm>
              <a:prstGeom prst="rect">
                <a:avLst/>
              </a:prstGeom>
              <a:noFill/>
              <a:ln w="34925">
                <a:noFill/>
                <a:miter lim="800000"/>
                <a:headEnd/>
                <a:tailEnd/>
              </a:ln>
              <a:effectLst>
                <a:outerShdw blurRad="50800" dist="50800" dir="462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0" name="Picture 49" descr="1apple_ipod_classic_1.jpg"/>
              <p:cNvPicPr preferRelativeResize="0"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7949176" y="3630051"/>
                <a:ext cx="883398" cy="1064339"/>
              </a:xfrm>
              <a:prstGeom prst="rect">
                <a:avLst/>
              </a:prstGeom>
              <a:noFill/>
              <a:ln w="34925">
                <a:noFill/>
                <a:miter lim="800000"/>
                <a:headEnd/>
                <a:tailEnd/>
              </a:ln>
              <a:effectLst>
                <a:outerShdw blurRad="50800" dist="50800" dir="462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7" name="Picture 56" descr="bh-208_312x312.jpg"/>
              <p:cNvPicPr preferRelativeResize="0">
                <a:picLocks noChangeAspect="1"/>
              </p:cNvPicPr>
              <p:nvPr/>
            </p:nvPicPr>
            <p:blipFill>
              <a:blip r:embed="rId8" cstate="print"/>
              <a:srcRect l="3003" t="3737" r="4835" b="4101"/>
              <a:stretch>
                <a:fillRect/>
              </a:stretch>
            </p:blipFill>
            <p:spPr>
              <a:xfrm>
                <a:off x="6945812" y="3692800"/>
                <a:ext cx="935144" cy="935147"/>
              </a:xfrm>
              <a:prstGeom prst="rect">
                <a:avLst/>
              </a:prstGeom>
              <a:noFill/>
              <a:ln w="34925">
                <a:noFill/>
                <a:miter lim="800000"/>
                <a:headEnd/>
                <a:tailEnd/>
              </a:ln>
              <a:effectLst>
                <a:outerShdw blurRad="50800" dist="50800" dir="462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8" name="Picture 57" descr="netbook-pro.jpg"/>
              <p:cNvPicPr preferRelativeResize="0"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585932" y="3670742"/>
                <a:ext cx="1310604" cy="982956"/>
              </a:xfrm>
              <a:prstGeom prst="rect">
                <a:avLst/>
              </a:prstGeom>
              <a:noFill/>
              <a:ln w="34925">
                <a:noFill/>
                <a:miter lim="800000"/>
                <a:headEnd/>
                <a:tailEnd/>
              </a:ln>
              <a:effectLst>
                <a:outerShdw blurRad="50800" dist="50800" dir="462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9" name="Picture 58" descr="sony-dsc-w200-digital-camera.jpg"/>
              <p:cNvPicPr preferRelativeResize="0">
                <a:picLocks noChangeAspect="1"/>
              </p:cNvPicPr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5854599" y="3751298"/>
                <a:ext cx="996174" cy="821845"/>
              </a:xfrm>
              <a:prstGeom prst="rect">
                <a:avLst/>
              </a:prstGeom>
              <a:noFill/>
              <a:ln w="34925">
                <a:noFill/>
                <a:miter lim="800000"/>
                <a:headEnd/>
                <a:tailEnd/>
              </a:ln>
              <a:effectLst>
                <a:outerShdw blurRad="50800" dist="50800" dir="462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60" name="Picture 59" descr="iphone3g_home1322x2400.jpg"/>
              <p:cNvPicPr preferRelativeResize="0">
                <a:picLocks noChangeAspect="1"/>
              </p:cNvPicPr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7869219" y="4860339"/>
                <a:ext cx="834214" cy="752391"/>
              </a:xfrm>
              <a:prstGeom prst="rect">
                <a:avLst/>
              </a:prstGeom>
              <a:noFill/>
              <a:ln w="34925">
                <a:noFill/>
                <a:miter lim="800000"/>
                <a:headEnd/>
                <a:tailEnd/>
              </a:ln>
              <a:effectLst>
                <a:outerShdw blurRad="50800" dist="50800" dir="462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61" name="Picture 1" descr="C:\Users\Administrator\AppData\Local\Microsoft\Windows\Temporary Internet Files\Content.IE5\APU5UB9E\MCj04414470000[1].png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4894135" y="4814985"/>
                <a:ext cx="843099" cy="843101"/>
              </a:xfrm>
              <a:prstGeom prst="rect">
                <a:avLst/>
              </a:prstGeom>
              <a:noFill/>
              <a:ln w="34925">
                <a:noFill/>
                <a:miter lim="800000"/>
                <a:headEnd/>
                <a:tailEnd/>
              </a:ln>
              <a:effectLst>
                <a:outerShdw blurRad="50800" dist="50800" dir="462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62" name="Picture 5" descr="C:\Users\Administrator\AppData\Local\Microsoft\Windows\Temporary Internet Files\Content.IE5\787OPXML\MMj02544940000[1].gif"/>
              <p:cNvPicPr>
                <a:picLocks noChangeAspect="1" noChangeArrowheads="1" noCrop="1"/>
              </p:cNvPicPr>
              <p:nvPr/>
            </p:nvPicPr>
            <p:blipFill>
              <a:blip r:embed="rId13" cstate="print"/>
              <a:stretch>
                <a:fillRect/>
              </a:stretch>
            </p:blipFill>
            <p:spPr bwMode="auto">
              <a:xfrm>
                <a:off x="5884820" y="4929769"/>
                <a:ext cx="988047" cy="666932"/>
              </a:xfrm>
              <a:prstGeom prst="rect">
                <a:avLst/>
              </a:prstGeom>
              <a:noFill/>
              <a:ln w="34925">
                <a:noFill/>
                <a:miter lim="800000"/>
                <a:headEnd/>
                <a:tailEnd/>
              </a:ln>
              <a:effectLst>
                <a:outerShdw blurRad="50800" dist="50800" dir="462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63" name="Picture 62" descr="Movie.png"/>
              <p:cNvPicPr>
                <a:picLocks noChangeAspect="1"/>
              </p:cNvPicPr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6757650" y="4847215"/>
                <a:ext cx="913712" cy="778641"/>
              </a:xfrm>
              <a:prstGeom prst="rect">
                <a:avLst/>
              </a:prstGeom>
              <a:noFill/>
              <a:ln w="34925">
                <a:noFill/>
                <a:miter lim="800000"/>
                <a:headEnd/>
                <a:tailEnd/>
              </a:ln>
              <a:effectLst>
                <a:outerShdw blurRad="50800" dist="50800" dir="462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-0.25 0  E" pathEditMode="relative" ptsTypes="">
                                      <p:cBhvr>
                                        <p:cTn id="13" dur="5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64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1.85185E-6 L -2.22222E-6 -0.08959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5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64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-0.08009 " pathEditMode="relative" rAng="0" ptsTypes="AA">
                                      <p:cBhvr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0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22222E-6 L 5.55556E-7 -0.07754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9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-0.25 0  E" pathEditMode="relative" ptsTypes="">
                                      <p:cBhvr>
                                        <p:cTn id="47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64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1.85185E-6 L -2.22222E-6 -0.08959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5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64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-0.08009 " pathEditMode="relative" rAng="0" ptsTypes="AA">
                                      <p:cBhvr>
                                        <p:cTn id="6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0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1.11111E-6 L -1.94444E-6 -0.06319 " pathEditMode="relative" rAng="0" ptsTypes="AA">
                                      <p:cBhvr>
                                        <p:cTn id="6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448 0.00278 L 0.0052 0.00278 " pathEditMode="relative" rAng="0" ptsTypes="AA">
                                      <p:cBhvr>
                                        <p:cTn id="8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500"/>
                            </p:stCondLst>
                            <p:childTnLst>
                              <p:par>
                                <p:cTn id="8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9" grpId="1" animBg="1"/>
      <p:bldP spid="19" grpId="2" animBg="1"/>
      <p:bldP spid="20" grpId="0"/>
      <p:bldP spid="20" grpId="1"/>
      <p:bldP spid="20" grpId="2"/>
      <p:bldP spid="24" grpId="0" animBg="1"/>
      <p:bldP spid="24" grpId="1" animBg="1"/>
      <p:bldP spid="24" grpId="2" animBg="1"/>
      <p:bldP spid="35" grpId="0" animBg="1"/>
      <p:bldP spid="49" grpId="0"/>
      <p:bldP spid="51" grpId="0"/>
      <p:bldP spid="51" grpId="1"/>
      <p:bldP spid="51" grpId="2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.PSF\Host\Volumes\EP File Share\Touch\Project Juniper\Concept Art\woma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45222" y="1971675"/>
            <a:ext cx="2911107" cy="4269963"/>
          </a:xfrm>
          <a:prstGeom prst="rect">
            <a:avLst/>
          </a:prstGeom>
          <a:noFill/>
        </p:spPr>
      </p:pic>
      <p:grpSp>
        <p:nvGrpSpPr>
          <p:cNvPr id="2" name="Group 113"/>
          <p:cNvGrpSpPr/>
          <p:nvPr/>
        </p:nvGrpSpPr>
        <p:grpSpPr>
          <a:xfrm>
            <a:off x="4793415" y="3946324"/>
            <a:ext cx="3655260" cy="2159000"/>
            <a:chOff x="4793415" y="3835399"/>
            <a:chExt cx="3655260" cy="2159000"/>
          </a:xfrm>
        </p:grpSpPr>
        <p:grpSp>
          <p:nvGrpSpPr>
            <p:cNvPr id="3" name="Group 40"/>
            <p:cNvGrpSpPr/>
            <p:nvPr/>
          </p:nvGrpSpPr>
          <p:grpSpPr>
            <a:xfrm>
              <a:off x="4793415" y="3886200"/>
              <a:ext cx="3655260" cy="2028824"/>
              <a:chOff x="4793415" y="3886200"/>
              <a:chExt cx="3655260" cy="2028824"/>
            </a:xfrm>
          </p:grpSpPr>
          <p:sp>
            <p:nvSpPr>
              <p:cNvPr id="82" name="Isosceles Triangle 81"/>
              <p:cNvSpPr/>
              <p:nvPr/>
            </p:nvSpPr>
            <p:spPr>
              <a:xfrm rot="16635001">
                <a:off x="5065327" y="3636016"/>
                <a:ext cx="1558863" cy="2102688"/>
              </a:xfrm>
              <a:prstGeom prst="triangle">
                <a:avLst/>
              </a:prstGeom>
              <a:gradFill flip="none" rotWithShape="1">
                <a:gsLst>
                  <a:gs pos="46000">
                    <a:schemeClr val="tx1">
                      <a:alpha val="0"/>
                    </a:schemeClr>
                  </a:gs>
                  <a:gs pos="70000">
                    <a:schemeClr val="tx1">
                      <a:alpha val="19000"/>
                    </a:schemeClr>
                  </a:gs>
                </a:gsLst>
                <a:lin ang="5400000" scaled="1"/>
                <a:tileRect/>
              </a:gradFill>
              <a:ln w="57150">
                <a:noFill/>
              </a:ln>
              <a:effectLst>
                <a:outerShdw blurRad="1524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6419851" y="3886200"/>
                <a:ext cx="2028824" cy="202882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/>
                  </a:gs>
                  <a:gs pos="70000">
                    <a:schemeClr val="accent6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57150">
                <a:noFill/>
              </a:ln>
              <a:effectLst>
                <a:outerShdw blurRad="1524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08" name="Picture 107" descr="servers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32141" y="3835399"/>
              <a:ext cx="977416" cy="1187833"/>
            </a:xfrm>
            <a:prstGeom prst="rect">
              <a:avLst/>
            </a:prstGeom>
            <a:noFill/>
            <a:ln w="34925">
              <a:noFill/>
              <a:miter lim="800000"/>
              <a:headEnd/>
              <a:tailEnd/>
            </a:ln>
            <a:effectLst>
              <a:outerShdw blurRad="50800" dist="50800" dir="462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9" name="Picture 108" descr="traffic-light.png"/>
            <p:cNvPicPr>
              <a:picLocks noChangeAspect="1"/>
            </p:cNvPicPr>
            <p:nvPr/>
          </p:nvPicPr>
          <p:blipFill>
            <a:blip r:embed="rId5" cstate="print"/>
            <a:srcRect l="2472" t="2554" r="2791" b="2693"/>
            <a:stretch>
              <a:fillRect/>
            </a:stretch>
          </p:blipFill>
          <p:spPr>
            <a:xfrm>
              <a:off x="7012384" y="5038436"/>
              <a:ext cx="830178" cy="955963"/>
            </a:xfrm>
            <a:prstGeom prst="rect">
              <a:avLst/>
            </a:prstGeom>
            <a:noFill/>
            <a:ln w="34925">
              <a:noFill/>
              <a:miter lim="800000"/>
              <a:headEnd/>
              <a:tailEnd/>
            </a:ln>
            <a:effectLst>
              <a:outerShdw blurRad="50800" dist="50800" dir="462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3" name="Picture 112" descr="windmill-solar.png"/>
            <p:cNvPicPr>
              <a:picLocks noChangeAspect="1"/>
            </p:cNvPicPr>
            <p:nvPr/>
          </p:nvPicPr>
          <p:blipFill>
            <a:blip r:embed="rId6" cstate="print">
              <a:lum contrast="20000"/>
            </a:blip>
            <a:stretch>
              <a:fillRect/>
            </a:stretch>
          </p:blipFill>
          <p:spPr>
            <a:xfrm>
              <a:off x="6459904" y="4010785"/>
              <a:ext cx="676286" cy="995842"/>
            </a:xfrm>
            <a:prstGeom prst="rect">
              <a:avLst/>
            </a:prstGeom>
            <a:noFill/>
            <a:ln w="34925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>
              <a:outerShdw blurRad="50800" dist="50800" dir="4620000" algn="tl" rotWithShape="0">
                <a:prstClr val="black">
                  <a:alpha val="40000"/>
                </a:prstClr>
              </a:outerShdw>
            </a:effectLst>
            <a:scene3d>
              <a:camera prst="perspectiveHeroicExtremeLeftFacing"/>
              <a:lightRig rig="threePt" dir="t"/>
            </a:scene3d>
          </p:spPr>
        </p:pic>
      </p:grpSp>
      <p:grpSp>
        <p:nvGrpSpPr>
          <p:cNvPr id="4" name="Group 41"/>
          <p:cNvGrpSpPr/>
          <p:nvPr/>
        </p:nvGrpSpPr>
        <p:grpSpPr>
          <a:xfrm>
            <a:off x="379269" y="4013540"/>
            <a:ext cx="3498037" cy="2070012"/>
            <a:chOff x="430071" y="3713566"/>
            <a:chExt cx="3498037" cy="2070012"/>
          </a:xfrm>
        </p:grpSpPr>
        <p:sp>
          <p:nvSpPr>
            <p:cNvPr id="66" name="Isosceles Triangle 65"/>
            <p:cNvSpPr/>
            <p:nvPr/>
          </p:nvSpPr>
          <p:spPr>
            <a:xfrm rot="4953071">
              <a:off x="2304979" y="3757940"/>
              <a:ext cx="1558863" cy="1687394"/>
            </a:xfrm>
            <a:prstGeom prst="triangle">
              <a:avLst/>
            </a:prstGeom>
            <a:gradFill flip="none" rotWithShape="1">
              <a:gsLst>
                <a:gs pos="46000">
                  <a:schemeClr val="tx1">
                    <a:alpha val="0"/>
                  </a:schemeClr>
                </a:gs>
                <a:gs pos="70000">
                  <a:schemeClr val="tx1">
                    <a:alpha val="19000"/>
                  </a:schemeClr>
                </a:gs>
              </a:gsLst>
              <a:lin ang="5400000" scaled="1"/>
              <a:tileRect/>
            </a:gradFill>
            <a:ln w="57150">
              <a:noFill/>
            </a:ln>
            <a:effectLst>
              <a:outerShdw blurRad="1524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7" name="Oval 66"/>
            <p:cNvSpPr/>
            <p:nvPr/>
          </p:nvSpPr>
          <p:spPr>
            <a:xfrm>
              <a:off x="542926" y="3754754"/>
              <a:ext cx="2028824" cy="2028824"/>
            </a:xfrm>
            <a:prstGeom prst="ellipse">
              <a:avLst/>
            </a:prstGeom>
            <a:gradFill flip="none" rotWithShape="1">
              <a:gsLst>
                <a:gs pos="0">
                  <a:schemeClr val="tx1"/>
                </a:gs>
                <a:gs pos="70000">
                  <a:schemeClr val="accent6"/>
                </a:gs>
              </a:gsLst>
              <a:path path="circle">
                <a:fillToRect l="100000" t="100000"/>
              </a:path>
              <a:tileRect r="-100000" b="-100000"/>
            </a:gradFill>
            <a:ln w="57150">
              <a:noFill/>
            </a:ln>
            <a:effectLst>
              <a:outerShdw blurRad="1524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8" name="Picture 5" descr="http://www.centennial.org/connect/twitter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30071" y="4361541"/>
              <a:ext cx="881168" cy="881168"/>
            </a:xfrm>
            <a:prstGeom prst="rect">
              <a:avLst/>
            </a:prstGeom>
            <a:noFill/>
            <a:effectLst>
              <a:outerShdw blurRad="889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9" name="Picture 5" descr="\\.PSF\Host\Volumes\EP File Share\Touch\Project Juniper\Concept Art\PNGs\facebook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481137" y="3713566"/>
              <a:ext cx="862013" cy="867958"/>
            </a:xfrm>
            <a:prstGeom prst="rect">
              <a:avLst/>
            </a:prstGeom>
            <a:noFill/>
            <a:effectLst>
              <a:outerShdw blurRad="889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0" name="Picture 6" descr="\\.PSF\Host\Volumes\EP File Share\Touch\Project Juniper\Concept Art\PNGs\ms-mai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400175" y="4722126"/>
              <a:ext cx="1114425" cy="1047892"/>
            </a:xfrm>
            <a:prstGeom prst="rect">
              <a:avLst/>
            </a:prstGeom>
            <a:noFill/>
            <a:effectLst>
              <a:outerShdw blurRad="889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9218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nnected culture</a:t>
            </a:r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4883487" y="231759"/>
            <a:ext cx="3631863" cy="632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dirty="0" smtClean="0">
                <a:solidFill>
                  <a:schemeClr val="tx1"/>
                </a:solidFill>
              </a:rPr>
              <a:t>2010–2020</a:t>
            </a:r>
          </a:p>
        </p:txBody>
      </p:sp>
      <p:grpSp>
        <p:nvGrpSpPr>
          <p:cNvPr id="5" name="Group 42"/>
          <p:cNvGrpSpPr/>
          <p:nvPr/>
        </p:nvGrpSpPr>
        <p:grpSpPr>
          <a:xfrm>
            <a:off x="542559" y="1352550"/>
            <a:ext cx="3572122" cy="2815577"/>
            <a:chOff x="1457326" y="1297304"/>
            <a:chExt cx="3572122" cy="2815577"/>
          </a:xfrm>
        </p:grpSpPr>
        <p:sp>
          <p:nvSpPr>
            <p:cNvPr id="72" name="Isosceles Triangle 71"/>
            <p:cNvSpPr/>
            <p:nvPr/>
          </p:nvSpPr>
          <p:spPr>
            <a:xfrm rot="7513713">
              <a:off x="3105212" y="2188645"/>
              <a:ext cx="1551299" cy="2297173"/>
            </a:xfrm>
            <a:prstGeom prst="triangle">
              <a:avLst/>
            </a:prstGeom>
            <a:gradFill flip="none" rotWithShape="1">
              <a:gsLst>
                <a:gs pos="46000">
                  <a:schemeClr val="tx1">
                    <a:alpha val="0"/>
                  </a:schemeClr>
                </a:gs>
                <a:gs pos="70000">
                  <a:schemeClr val="tx1">
                    <a:alpha val="19000"/>
                  </a:schemeClr>
                </a:gs>
              </a:gsLst>
              <a:lin ang="5400000" scaled="1"/>
              <a:tileRect/>
            </a:gradFill>
            <a:ln w="57150">
              <a:noFill/>
            </a:ln>
            <a:effectLst>
              <a:outerShdw blurRad="1524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Oval 72"/>
            <p:cNvSpPr/>
            <p:nvPr/>
          </p:nvSpPr>
          <p:spPr>
            <a:xfrm>
              <a:off x="1457326" y="1297304"/>
              <a:ext cx="2028824" cy="2028824"/>
            </a:xfrm>
            <a:prstGeom prst="ellipse">
              <a:avLst/>
            </a:prstGeom>
            <a:gradFill flip="none" rotWithShape="1">
              <a:gsLst>
                <a:gs pos="0">
                  <a:schemeClr val="tx1"/>
                </a:gs>
                <a:gs pos="70000">
                  <a:schemeClr val="accent6"/>
                </a:gs>
              </a:gsLst>
              <a:path path="circle">
                <a:fillToRect l="100000" t="100000"/>
              </a:path>
              <a:tileRect r="-100000" b="-100000"/>
            </a:gradFill>
            <a:ln w="57150">
              <a:noFill/>
            </a:ln>
            <a:effectLst>
              <a:outerShdw blurRad="1524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88" name="Picture 87" descr="iphone3g_home1322x2400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49714" y="2356288"/>
            <a:ext cx="606302" cy="996280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9" name="Picture 88" descr="1apple_ipod_classic_1.jpg"/>
          <p:cNvPicPr preferRelativeResize="0"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160285" y="2536621"/>
            <a:ext cx="920357" cy="1108864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0" name="Picture 89" descr="bh-208_312x312.jpg"/>
          <p:cNvPicPr preferRelativeResize="0">
            <a:picLocks noChangeAspect="1"/>
          </p:cNvPicPr>
          <p:nvPr/>
        </p:nvPicPr>
        <p:blipFill>
          <a:blip r:embed="rId12" cstate="print"/>
          <a:srcRect l="3003" t="3737" r="4835" b="4101"/>
          <a:stretch>
            <a:fillRect/>
          </a:stretch>
        </p:blipFill>
        <p:spPr>
          <a:xfrm>
            <a:off x="1662746" y="1315644"/>
            <a:ext cx="974267" cy="974269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1" name="Picture 90" descr="netbook-pro.jpg"/>
          <p:cNvPicPr preferRelativeResize="0"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03054" y="1292664"/>
            <a:ext cx="1365436" cy="1024076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6" name="Group 115"/>
          <p:cNvGrpSpPr/>
          <p:nvPr/>
        </p:nvGrpSpPr>
        <p:grpSpPr>
          <a:xfrm>
            <a:off x="5109899" y="1352550"/>
            <a:ext cx="3338776" cy="2876652"/>
            <a:chOff x="4338374" y="1352550"/>
            <a:chExt cx="3338776" cy="2876652"/>
          </a:xfrm>
        </p:grpSpPr>
        <p:sp>
          <p:nvSpPr>
            <p:cNvPr id="78" name="Isosceles Triangle 77"/>
            <p:cNvSpPr/>
            <p:nvPr/>
          </p:nvSpPr>
          <p:spPr>
            <a:xfrm rot="13694231">
              <a:off x="4693013" y="2358263"/>
              <a:ext cx="1516300" cy="2225577"/>
            </a:xfrm>
            <a:prstGeom prst="triangle">
              <a:avLst/>
            </a:prstGeom>
            <a:gradFill flip="none" rotWithShape="1">
              <a:gsLst>
                <a:gs pos="46000">
                  <a:schemeClr val="tx1">
                    <a:alpha val="0"/>
                  </a:schemeClr>
                </a:gs>
                <a:gs pos="70000">
                  <a:schemeClr val="tx1">
                    <a:alpha val="19000"/>
                  </a:schemeClr>
                </a:gs>
              </a:gsLst>
              <a:lin ang="5400000" scaled="1"/>
              <a:tileRect/>
            </a:gradFill>
            <a:ln w="57150">
              <a:noFill/>
            </a:ln>
            <a:effectLst>
              <a:outerShdw blurRad="1524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Oval 78"/>
            <p:cNvSpPr/>
            <p:nvPr/>
          </p:nvSpPr>
          <p:spPr>
            <a:xfrm>
              <a:off x="5648326" y="1352550"/>
              <a:ext cx="2028824" cy="2028824"/>
            </a:xfrm>
            <a:prstGeom prst="ellipse">
              <a:avLst/>
            </a:prstGeom>
            <a:gradFill flip="none" rotWithShape="1">
              <a:gsLst>
                <a:gs pos="0">
                  <a:schemeClr val="tx1"/>
                </a:gs>
                <a:gs pos="70000">
                  <a:schemeClr val="accent6"/>
                </a:gs>
              </a:gsLst>
              <a:path path="circle">
                <a:fillToRect l="100000" t="100000"/>
              </a:path>
              <a:tileRect r="-100000" b="-100000"/>
            </a:gradFill>
            <a:ln w="57150">
              <a:noFill/>
            </a:ln>
            <a:effectLst>
              <a:outerShdw blurRad="1524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9" name="Picture 118" descr="Movie.png"/>
          <p:cNvPicPr preferRelativeResize="0"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7442144" y="1399154"/>
            <a:ext cx="1009629" cy="860379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0" name="Picture 119" descr="iphone3g_home1322x2400.jpg"/>
          <p:cNvPicPr preferRelativeResize="0"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396695" y="1462283"/>
            <a:ext cx="921788" cy="831373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1" name="Picture 1" descr="C:\Users\Administrator\AppData\Local\Microsoft\Windows\Temporary Internet Files\Content.IE5\APU5UB9E\MCj04414470000[1]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592082" y="2350381"/>
            <a:ext cx="931606" cy="931606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2" name="Picture 5" descr="C:\Users\Administrator\AppData\Local\Microsoft\Windows\Temporary Internet Files\Content.IE5\787OPXML\MMj02544940000[1].gif"/>
          <p:cNvPicPr>
            <a:picLocks noChangeAspect="1" noChangeArrowheads="1" noCrop="1"/>
          </p:cNvPicPr>
          <p:nvPr/>
        </p:nvPicPr>
        <p:blipFill>
          <a:blip r:embed="rId17" cstate="print"/>
          <a:stretch>
            <a:fillRect/>
          </a:stretch>
        </p:blipFill>
        <p:spPr bwMode="auto">
          <a:xfrm>
            <a:off x="6430186" y="2491502"/>
            <a:ext cx="1091769" cy="736944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8" name="Picture 47" descr="iphone3g_home1322x2400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762420" y="5444415"/>
            <a:ext cx="697541" cy="1146202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9" name="Picture 48" descr="1apple_ipod_classic_1.jpg"/>
          <p:cNvPicPr preferRelativeResize="0"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310272" y="4091966"/>
            <a:ext cx="1058854" cy="1275729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0" name="Picture 49" descr="bh-208_312x312.jpg"/>
          <p:cNvPicPr preferRelativeResize="0">
            <a:picLocks noChangeAspect="1"/>
          </p:cNvPicPr>
          <p:nvPr/>
        </p:nvPicPr>
        <p:blipFill>
          <a:blip r:embed="rId12" cstate="print"/>
          <a:srcRect l="3003" t="3737" r="4835" b="4101"/>
          <a:stretch>
            <a:fillRect/>
          </a:stretch>
        </p:blipFill>
        <p:spPr>
          <a:xfrm>
            <a:off x="6107625" y="4167178"/>
            <a:ext cx="1120877" cy="1120878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1" name="Picture 50" descr="netbook-pro.jpg"/>
          <p:cNvPicPr preferRelativeResize="0"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3279039" y="4140739"/>
            <a:ext cx="1570909" cy="1178182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3" name="Picture 52" descr="sony-dsc-w200-digital-camera.jpg"/>
          <p:cNvPicPr preferRelativeResize="0"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4799681" y="4237294"/>
            <a:ext cx="1194029" cy="985073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4" name="Picture 53" descr="iphone3g_home1322x2400.jpg"/>
          <p:cNvPicPr preferRelativeResize="0"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7214435" y="5566603"/>
            <a:ext cx="999901" cy="901824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Picture 1" descr="C:\Users\Administrator\AppData\Local\Microsoft\Windows\Temporary Internet Files\Content.IE5\APU5UB9E\MCj04414470000[1]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648455" y="5512241"/>
            <a:ext cx="1010551" cy="1010550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Picture 70" descr="Movie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882092" y="5550872"/>
            <a:ext cx="1095189" cy="933288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" name="Picture 45" descr="kindle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2539536" y="4204452"/>
            <a:ext cx="753513" cy="1042146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5" name="Picture 5" descr="C:\Users\Administrator\AppData\Local\Microsoft\Windows\Temporary Internet Files\Content.IE5\787OPXML\MMj02544940000[1].gif"/>
          <p:cNvPicPr>
            <a:picLocks noChangeAspect="1" noChangeArrowheads="1" noCrop="1"/>
          </p:cNvPicPr>
          <p:nvPr/>
        </p:nvPicPr>
        <p:blipFill>
          <a:blip r:embed="rId17" cstate="print"/>
          <a:stretch>
            <a:fillRect/>
          </a:stretch>
        </p:blipFill>
        <p:spPr bwMode="auto">
          <a:xfrm>
            <a:off x="4835905" y="5649822"/>
            <a:ext cx="1184288" cy="799392"/>
          </a:xfrm>
          <a:prstGeom prst="rect">
            <a:avLst/>
          </a:prstGeom>
          <a:noFill/>
          <a:ln w="34925">
            <a:noFill/>
            <a:miter lim="800000"/>
            <a:headEnd/>
            <a:tailEnd/>
          </a:ln>
          <a:effectLst>
            <a:outerShdw blurRad="50800" dist="50800" dir="4620000" algn="tl" rotWithShape="0">
              <a:prstClr val="black">
                <a:alpha val="40000"/>
              </a:prstClr>
            </a:outerShdw>
          </a:effectLst>
        </p:spPr>
      </p:pic>
      <p:sp>
        <p:nvSpPr>
          <p:cNvPr id="77" name="TextBox 76"/>
          <p:cNvSpPr txBox="1"/>
          <p:nvPr/>
        </p:nvSpPr>
        <p:spPr>
          <a:xfrm>
            <a:off x="243796" y="990599"/>
            <a:ext cx="25980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Proliferation of Devices</a:t>
            </a:r>
            <a:endParaRPr lang="en-US" sz="1600" dirty="0"/>
          </a:p>
        </p:txBody>
      </p:sp>
      <p:sp>
        <p:nvSpPr>
          <p:cNvPr id="80" name="TextBox 79"/>
          <p:cNvSpPr txBox="1"/>
          <p:nvPr/>
        </p:nvSpPr>
        <p:spPr>
          <a:xfrm>
            <a:off x="6098983" y="990599"/>
            <a:ext cx="26780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Content Consumption</a:t>
            </a:r>
            <a:endParaRPr lang="en-US" sz="1600" dirty="0"/>
          </a:p>
        </p:txBody>
      </p:sp>
      <p:sp>
        <p:nvSpPr>
          <p:cNvPr id="81" name="TextBox 80"/>
          <p:cNvSpPr txBox="1"/>
          <p:nvPr/>
        </p:nvSpPr>
        <p:spPr>
          <a:xfrm>
            <a:off x="6210316" y="3673327"/>
            <a:ext cx="24553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Machine to Machine</a:t>
            </a:r>
            <a:endParaRPr lang="en-US" sz="1600" dirty="0"/>
          </a:p>
        </p:txBody>
      </p:sp>
      <p:sp>
        <p:nvSpPr>
          <p:cNvPr id="84" name="TextBox 83"/>
          <p:cNvSpPr txBox="1"/>
          <p:nvPr/>
        </p:nvSpPr>
        <p:spPr>
          <a:xfrm>
            <a:off x="225868" y="3716871"/>
            <a:ext cx="2633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Connected Socialization</a:t>
            </a:r>
            <a:endParaRPr lang="en-US" sz="16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4 1.11111E-6 L -0.05069 -0.28148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" y="-141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8 0.00047 L -0.6816 -0.23981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1" y="-12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3.7037E-6 L -0.25955 -0.46297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0" y="-231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1.85185E-6 L -0.49289 -0.42569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47" y="-21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3.33333E-6 L -0.33715 -0.42199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" y="-211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7" dur="500" fill="hold"/>
                                        <p:tgtEl>
                                          <p:spTgt spid="46"/>
                                        </p:tgtEl>
                                      </p:cBhvr>
                                      <p:by x="84000" y="84000"/>
                                    </p:animScale>
                                  </p:childTnLst>
                                </p:cTn>
                              </p:par>
                              <p:par>
                                <p:cTn id="2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9" dur="500" fill="hold"/>
                                        <p:tgtEl>
                                          <p:spTgt spid="48"/>
                                        </p:tgtEl>
                                      </p:cBhvr>
                                      <p:by x="87000" y="87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50"/>
                                        </p:tgtEl>
                                      </p:cBhvr>
                                      <p:by x="88000" y="88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49"/>
                                        </p:tgtEl>
                                      </p:cBhvr>
                                      <p:by x="87000" y="87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5" dur="500" fill="hold"/>
                                        <p:tgtEl>
                                          <p:spTgt spid="51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00"/>
                            </p:stCondLst>
                            <p:childTnLst>
                              <p:par>
                                <p:cTn id="5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3.7037E-6 L -0.0915 -0.60371 " pathEditMode="relative" rAng="0" ptsTypes="AA">
                                      <p:cBhvr>
                                        <p:cTn id="5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6" y="-30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0.16476 -0.61204 " pathEditMode="relative" rAng="0" ptsTypes="AA">
                                      <p:cBhvr>
                                        <p:cTn id="6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2" y="-306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4.44444E-6 L 0.1717 -0.46597 " pathEditMode="relative" rAng="0" ptsTypes="AA">
                                      <p:cBhvr>
                                        <p:cTn id="6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" y="-233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81481E-6 L 0.42795 -0.46759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4" y="-234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1" dur="500" fill="hold"/>
                                        <p:tgtEl>
                                          <p:spTgt spid="54"/>
                                        </p:tgtEl>
                                      </p:cBhvr>
                                      <p:by x="94000" y="94000"/>
                                    </p:animScale>
                                  </p:childTnLst>
                                </p:cTn>
                              </p:par>
                              <p:par>
                                <p:cTn id="7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3" dur="500" fill="hold"/>
                                        <p:tgtEl>
                                          <p:spTgt spid="71"/>
                                        </p:tgtEl>
                                      </p:cBhvr>
                                      <p:by x="94000" y="94000"/>
                                    </p:animScale>
                                  </p:childTnLst>
                                </p:cTn>
                              </p:par>
                              <p:par>
                                <p:cTn id="7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500" fill="hold"/>
                                        <p:tgtEl>
                                          <p:spTgt spid="5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76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7" dur="500" fill="hold"/>
                                        <p:tgtEl>
                                          <p:spTgt spid="65"/>
                                        </p:tgtEl>
                                      </p:cBhvr>
                                      <p:by x="93000" y="9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500"/>
                            </p:stCondLst>
                            <p:childTnLst>
                              <p:par>
                                <p:cTn id="7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2000"/>
                            </p:stCondLst>
                            <p:childTnLst>
                              <p:par>
                                <p:cTn id="9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2500"/>
                            </p:stCondLst>
                            <p:childTnLst>
                              <p:par>
                                <p:cTn id="1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3000"/>
                            </p:stCondLst>
                            <p:childTnLst>
                              <p:par>
                                <p:cTn id="10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3500"/>
                            </p:stCondLst>
                            <p:childTnLst>
                              <p:par>
                                <p:cTn id="1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/>
      <p:bldP spid="80" grpId="0"/>
      <p:bldP spid="81" grpId="0"/>
      <p:bldP spid="8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/>
          <p:cNvSpPr/>
          <p:nvPr/>
        </p:nvSpPr>
        <p:spPr>
          <a:xfrm>
            <a:off x="0" y="967563"/>
            <a:ext cx="9144000" cy="5263115"/>
          </a:xfrm>
          <a:prstGeom prst="rect">
            <a:avLst/>
          </a:prstGeom>
          <a:gradFill flip="none" rotWithShape="1">
            <a:gsLst>
              <a:gs pos="0">
                <a:srgbClr val="20252C"/>
              </a:gs>
              <a:gs pos="100000">
                <a:srgbClr val="37404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5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7762" name="think-cell Slide" r:id="rId18" imgW="0" imgH="0" progId="">
              <p:embed/>
            </p:oleObj>
          </a:graphicData>
        </a:graphic>
      </p:graphicFrame>
      <p:sp>
        <p:nvSpPr>
          <p:cNvPr id="2051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055" name="Rectangle 2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433825" y="161103"/>
            <a:ext cx="8264525" cy="822325"/>
          </a:xfrm>
        </p:spPr>
        <p:txBody>
          <a:bodyPr/>
          <a:lstStyle/>
          <a:p>
            <a:r>
              <a:rPr lang="en-US" dirty="0">
                <a:latin typeface="Arial"/>
              </a:rPr>
              <a:t>internet traffic is growing</a:t>
            </a:r>
            <a:endParaRPr lang="en-US" dirty="0" smtClean="0"/>
          </a:p>
        </p:txBody>
      </p:sp>
      <p:graphicFrame>
        <p:nvGraphicFramePr>
          <p:cNvPr id="384" name="Object 6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73637" y="1284772"/>
          <a:ext cx="8595743" cy="528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53" name="Rectangle 52"/>
          <p:cNvSpPr/>
          <p:nvPr/>
        </p:nvSpPr>
        <p:spPr>
          <a:xfrm>
            <a:off x="8325293" y="956930"/>
            <a:ext cx="818707" cy="5266944"/>
          </a:xfrm>
          <a:prstGeom prst="rect">
            <a:avLst/>
          </a:prstGeom>
          <a:solidFill>
            <a:srgbClr val="3740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0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blackWhite">
          <a:xfrm rot="21441535">
            <a:off x="1335024" y="1610352"/>
            <a:ext cx="1609728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en-US" sz="900" b="1" dirty="0" smtClean="0">
                <a:solidFill>
                  <a:schemeClr val="accent5"/>
                </a:solidFill>
                <a:ea typeface="ＭＳ Ｐゴシック" pitchFamily="34" charset="-128"/>
              </a:rPr>
              <a:t># of Connections</a:t>
            </a:r>
            <a:endParaRPr lang="en-US" sz="900" dirty="0">
              <a:solidFill>
                <a:schemeClr val="accent5"/>
              </a:solidFill>
              <a:ea typeface="ＭＳ Ｐゴシック" pitchFamily="34" charset="-128"/>
            </a:endParaRPr>
          </a:p>
        </p:txBody>
      </p:sp>
      <p:grpSp>
        <p:nvGrpSpPr>
          <p:cNvPr id="2" name="Group 326"/>
          <p:cNvGrpSpPr/>
          <p:nvPr/>
        </p:nvGrpSpPr>
        <p:grpSpPr>
          <a:xfrm>
            <a:off x="451510" y="1147763"/>
            <a:ext cx="8073925" cy="5087064"/>
            <a:chOff x="451510" y="1147763"/>
            <a:chExt cx="8073925" cy="5087064"/>
          </a:xfrm>
        </p:grpSpPr>
        <p:sp>
          <p:nvSpPr>
            <p:cNvPr id="351" name="Text Box 5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451510" y="1147763"/>
              <a:ext cx="4779709" cy="3088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0" hangingPunct="0"/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Worldwide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internet </a:t>
              </a:r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traffic,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1990-2008  </a:t>
              </a:r>
              <a:r>
                <a:rPr lang="en-US" sz="1200" dirty="0" smtClean="0">
                  <a:solidFill>
                    <a:srgbClr val="666666"/>
                  </a:solidFill>
                </a:rPr>
                <a:t>PB/month</a:t>
              </a:r>
              <a:endParaRPr lang="en-US" sz="1200" dirty="0">
                <a:solidFill>
                  <a:srgbClr val="666666"/>
                </a:solidFill>
              </a:endParaRPr>
            </a:p>
          </p:txBody>
        </p:sp>
        <p:sp>
          <p:nvSpPr>
            <p:cNvPr id="385" name="TextBox 384"/>
            <p:cNvSpPr txBox="1"/>
            <p:nvPr/>
          </p:nvSpPr>
          <p:spPr>
            <a:xfrm>
              <a:off x="484094" y="1740948"/>
              <a:ext cx="652945" cy="36625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9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8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7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6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5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4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3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2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1,000</a:t>
              </a:r>
            </a:p>
          </p:txBody>
        </p:sp>
        <p:grpSp>
          <p:nvGrpSpPr>
            <p:cNvPr id="3" name="Group 53"/>
            <p:cNvGrpSpPr/>
            <p:nvPr/>
          </p:nvGrpSpPr>
          <p:grpSpPr>
            <a:xfrm>
              <a:off x="2342507" y="1418250"/>
              <a:ext cx="5736954" cy="317126"/>
              <a:chOff x="2342507" y="1418250"/>
              <a:chExt cx="5736954" cy="317126"/>
            </a:xfrm>
          </p:grpSpPr>
          <p:cxnSp>
            <p:nvCxnSpPr>
              <p:cNvPr id="326" name="Straight Connector 325"/>
              <p:cNvCxnSpPr>
                <a:endCxn id="342" idx="7"/>
              </p:cNvCxnSpPr>
              <p:nvPr/>
            </p:nvCxnSpPr>
            <p:spPr>
              <a:xfrm flipV="1">
                <a:off x="2342507" y="1496784"/>
                <a:ext cx="5724383" cy="188178"/>
              </a:xfrm>
              <a:prstGeom prst="line">
                <a:avLst/>
              </a:prstGeom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1" name="Oval 330"/>
              <p:cNvSpPr/>
              <p:nvPr/>
            </p:nvSpPr>
            <p:spPr>
              <a:xfrm>
                <a:off x="2366683" y="165569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" name="Group 314"/>
              <p:cNvGrpSpPr/>
              <p:nvPr/>
            </p:nvGrpSpPr>
            <p:grpSpPr>
              <a:xfrm>
                <a:off x="3355300" y="1597049"/>
                <a:ext cx="188849" cy="138327"/>
                <a:chOff x="2675711" y="1617597"/>
                <a:chExt cx="188849" cy="138327"/>
              </a:xfrm>
            </p:grpSpPr>
            <p:sp>
              <p:nvSpPr>
                <p:cNvPr id="360" name="Oval 359"/>
                <p:cNvSpPr/>
                <p:nvPr/>
              </p:nvSpPr>
              <p:spPr>
                <a:xfrm>
                  <a:off x="2675711" y="1617597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3" name="Oval 382"/>
                <p:cNvSpPr/>
                <p:nvPr/>
              </p:nvSpPr>
              <p:spPr>
                <a:xfrm>
                  <a:off x="2778719" y="1683119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" name="Group 313"/>
              <p:cNvGrpSpPr/>
              <p:nvPr/>
            </p:nvGrpSpPr>
            <p:grpSpPr>
              <a:xfrm>
                <a:off x="4416103" y="1528529"/>
                <a:ext cx="193475" cy="174731"/>
                <a:chOff x="3130667" y="1559351"/>
                <a:chExt cx="193475" cy="174731"/>
              </a:xfrm>
            </p:grpSpPr>
            <p:sp>
              <p:nvSpPr>
                <p:cNvPr id="357" name="Oval 356"/>
                <p:cNvSpPr/>
                <p:nvPr/>
              </p:nvSpPr>
              <p:spPr>
                <a:xfrm>
                  <a:off x="3130667" y="1559351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58" name="Oval 357"/>
                <p:cNvSpPr/>
                <p:nvPr/>
              </p:nvSpPr>
              <p:spPr>
                <a:xfrm>
                  <a:off x="3165000" y="1661277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59" name="Oval 358"/>
                <p:cNvSpPr/>
                <p:nvPr/>
              </p:nvSpPr>
              <p:spPr>
                <a:xfrm>
                  <a:off x="3238301" y="1579716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" name="Group 312"/>
              <p:cNvGrpSpPr/>
              <p:nvPr/>
            </p:nvGrpSpPr>
            <p:grpSpPr>
              <a:xfrm>
                <a:off x="5481532" y="1499258"/>
                <a:ext cx="234460" cy="161211"/>
                <a:chOff x="3648518" y="1550628"/>
                <a:chExt cx="234460" cy="161211"/>
              </a:xfrm>
            </p:grpSpPr>
            <p:sp>
              <p:nvSpPr>
                <p:cNvPr id="348" name="Oval 347"/>
                <p:cNvSpPr/>
                <p:nvPr/>
              </p:nvSpPr>
              <p:spPr>
                <a:xfrm>
                  <a:off x="3690884" y="1556331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9" name="Oval 348"/>
                <p:cNvSpPr/>
                <p:nvPr/>
              </p:nvSpPr>
              <p:spPr>
                <a:xfrm>
                  <a:off x="3760150" y="1639034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52" name="Oval 351"/>
                <p:cNvSpPr/>
                <p:nvPr/>
              </p:nvSpPr>
              <p:spPr>
                <a:xfrm>
                  <a:off x="3797137" y="1550628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56" name="Oval 355"/>
                <p:cNvSpPr/>
                <p:nvPr/>
              </p:nvSpPr>
              <p:spPr>
                <a:xfrm>
                  <a:off x="3648518" y="1633330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7" name="Group 311"/>
              <p:cNvGrpSpPr/>
              <p:nvPr/>
            </p:nvGrpSpPr>
            <p:grpSpPr>
              <a:xfrm>
                <a:off x="6587946" y="1462747"/>
                <a:ext cx="277501" cy="162922"/>
                <a:chOff x="4210044" y="1524391"/>
                <a:chExt cx="277501" cy="162922"/>
              </a:xfrm>
            </p:grpSpPr>
            <p:sp>
              <p:nvSpPr>
                <p:cNvPr id="343" name="Oval 342"/>
                <p:cNvSpPr/>
                <p:nvPr/>
              </p:nvSpPr>
              <p:spPr>
                <a:xfrm>
                  <a:off x="4210044" y="1524391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4" name="Oval 343"/>
                <p:cNvSpPr/>
                <p:nvPr/>
              </p:nvSpPr>
              <p:spPr>
                <a:xfrm>
                  <a:off x="4242996" y="1613938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5" name="Oval 344"/>
                <p:cNvSpPr/>
                <p:nvPr/>
              </p:nvSpPr>
              <p:spPr>
                <a:xfrm>
                  <a:off x="4304193" y="1532377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6" name="Oval 345"/>
                <p:cNvSpPr/>
                <p:nvPr/>
              </p:nvSpPr>
              <p:spPr>
                <a:xfrm>
                  <a:off x="4332438" y="1614508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7" name="Oval 346"/>
                <p:cNvSpPr/>
                <p:nvPr/>
              </p:nvSpPr>
              <p:spPr>
                <a:xfrm>
                  <a:off x="4401704" y="1536369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8" name="Group 310"/>
              <p:cNvGrpSpPr/>
              <p:nvPr/>
            </p:nvGrpSpPr>
            <p:grpSpPr>
              <a:xfrm>
                <a:off x="7737402" y="1418250"/>
                <a:ext cx="342059" cy="191439"/>
                <a:chOff x="4881187" y="1490170"/>
                <a:chExt cx="342059" cy="191439"/>
              </a:xfrm>
            </p:grpSpPr>
            <p:sp>
              <p:nvSpPr>
                <p:cNvPr id="337" name="Oval 336"/>
                <p:cNvSpPr/>
                <p:nvPr/>
              </p:nvSpPr>
              <p:spPr>
                <a:xfrm>
                  <a:off x="4948435" y="1490170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8" name="Oval 337"/>
                <p:cNvSpPr/>
                <p:nvPr/>
              </p:nvSpPr>
              <p:spPr>
                <a:xfrm>
                  <a:off x="4989458" y="1576294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9" name="Oval 338"/>
                <p:cNvSpPr/>
                <p:nvPr/>
              </p:nvSpPr>
              <p:spPr>
                <a:xfrm>
                  <a:off x="4881187" y="1563176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0" name="Oval 339"/>
                <p:cNvSpPr/>
                <p:nvPr/>
              </p:nvSpPr>
              <p:spPr>
                <a:xfrm>
                  <a:off x="5067466" y="1512414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1" name="Oval 340"/>
                <p:cNvSpPr/>
                <p:nvPr/>
              </p:nvSpPr>
              <p:spPr>
                <a:xfrm>
                  <a:off x="5072173" y="1608804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2" name="Oval 341"/>
                <p:cNvSpPr/>
                <p:nvPr/>
              </p:nvSpPr>
              <p:spPr>
                <a:xfrm>
                  <a:off x="5137405" y="1558042"/>
                  <a:ext cx="85841" cy="72805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9" name="Group 38"/>
            <p:cNvGrpSpPr/>
            <p:nvPr/>
          </p:nvGrpSpPr>
          <p:grpSpPr>
            <a:xfrm>
              <a:off x="887849" y="5759407"/>
              <a:ext cx="7637586" cy="475420"/>
              <a:chOff x="887849" y="5759407"/>
              <a:chExt cx="7637586" cy="475420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887849" y="5759407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1990</a:t>
                </a: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8068579" y="6019383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2008</a:t>
                </a: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7181071" y="5983523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2006</a:t>
                </a: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6311493" y="5956629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2004</a:t>
                </a:r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>
                <a:off x="5468810" y="5920769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2002</a:t>
                </a: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4653020" y="5893869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2000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3864124" y="5866975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1998</a:t>
                </a: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3084193" y="5840081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1996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2331157" y="5813187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1994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1605016" y="5786293"/>
                <a:ext cx="456856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spcAft>
                    <a:spcPts val="1600"/>
                  </a:spcAft>
                </a:pPr>
                <a:r>
                  <a:rPr lang="en-US" sz="800" b="1" dirty="0" smtClean="0"/>
                  <a:t>1992</a:t>
                </a:r>
              </a:p>
            </p:txBody>
          </p:sp>
        </p:grpSp>
      </p:grpSp>
      <p:grpSp>
        <p:nvGrpSpPr>
          <p:cNvPr id="10" name="Group 638"/>
          <p:cNvGrpSpPr/>
          <p:nvPr/>
        </p:nvGrpSpPr>
        <p:grpSpPr>
          <a:xfrm>
            <a:off x="6485538" y="2278660"/>
            <a:ext cx="842696" cy="1398494"/>
            <a:chOff x="7270372" y="1999130"/>
            <a:chExt cx="842696" cy="1398494"/>
          </a:xfrm>
        </p:grpSpPr>
        <p:sp>
          <p:nvSpPr>
            <p:cNvPr id="917" name="Oval 9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16200000">
              <a:off x="7005926" y="2290482"/>
              <a:ext cx="1398494" cy="815790"/>
            </a:xfrm>
            <a:prstGeom prst="homePlat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  <a:alpha val="0"/>
                  </a:srgbClr>
                </a:gs>
                <a:gs pos="50000">
                  <a:srgbClr val="C00000">
                    <a:shade val="67500"/>
                    <a:satMod val="115000"/>
                    <a:alpha val="50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marL="0" marR="0" lvl="0" indent="0" algn="ctr" defTabSz="57467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918" name="Rectangle 917"/>
            <p:cNvSpPr/>
            <p:nvPr/>
          </p:nvSpPr>
          <p:spPr>
            <a:xfrm>
              <a:off x="7270372" y="2414579"/>
              <a:ext cx="842683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574675">
                <a:defRPr/>
              </a:pPr>
              <a:r>
                <a:rPr lang="en-US" sz="20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+32%</a:t>
              </a:r>
            </a:p>
            <a:p>
              <a:pPr lvl="0" algn="ctr" defTabSz="574675"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008-2020</a:t>
              </a:r>
              <a:br>
                <a:rPr lang="en-US" sz="9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en-US" sz="9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AGR</a:t>
              </a:r>
              <a:endParaRPr lang="en-US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pic>
        <p:nvPicPr>
          <p:cNvPr id="68611" name="Picture 3" descr="\\.PSF\Host\Volumes\EP File Share\Touch\Project Juniper\Development\T519\Artwork\graph_slope A2.png"/>
          <p:cNvPicPr>
            <a:picLocks noChangeAspect="1" noChangeArrowheads="1"/>
          </p:cNvPicPr>
          <p:nvPr/>
        </p:nvPicPr>
        <p:blipFill>
          <a:blip r:embed="rId20" cstate="print"/>
          <a:stretch>
            <a:fillRect/>
          </a:stretch>
        </p:blipFill>
        <p:spPr bwMode="auto">
          <a:xfrm>
            <a:off x="1150671" y="2011366"/>
            <a:ext cx="7159388" cy="3937051"/>
          </a:xfrm>
          <a:prstGeom prst="rect">
            <a:avLst/>
          </a:prstGeom>
          <a:noFill/>
        </p:spPr>
      </p:pic>
      <p:grpSp>
        <p:nvGrpSpPr>
          <p:cNvPr id="11" name="Group 354"/>
          <p:cNvGrpSpPr/>
          <p:nvPr/>
        </p:nvGrpSpPr>
        <p:grpSpPr>
          <a:xfrm>
            <a:off x="1323281" y="3922004"/>
            <a:ext cx="1497037" cy="480271"/>
            <a:chOff x="2670177" y="2365938"/>
            <a:chExt cx="2133991" cy="536303"/>
          </a:xfrm>
        </p:grpSpPr>
        <p:sp>
          <p:nvSpPr>
            <p:cNvPr id="361" name="Rectangular Callout 360"/>
            <p:cNvSpPr/>
            <p:nvPr/>
          </p:nvSpPr>
          <p:spPr>
            <a:xfrm>
              <a:off x="2670177" y="2365938"/>
              <a:ext cx="2118286" cy="536303"/>
            </a:xfrm>
            <a:prstGeom prst="wedgeRectCallout">
              <a:avLst>
                <a:gd name="adj1" fmla="val -53651"/>
                <a:gd name="adj2" fmla="val 275670"/>
              </a:avLst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  <a:alpha val="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 w="9525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 defTabSz="574675">
                <a:lnSpc>
                  <a:spcPct val="90000"/>
                </a:lnSpc>
                <a:defRPr/>
              </a:pPr>
              <a:endParaRPr lang="en-US" sz="800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62" name="Rectangle 361"/>
            <p:cNvSpPr/>
            <p:nvPr/>
          </p:nvSpPr>
          <p:spPr>
            <a:xfrm>
              <a:off x="2813626" y="2494297"/>
              <a:ext cx="1990542" cy="3093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0" hangingPunct="0"/>
              <a:r>
                <a:rPr lang="en-US" sz="12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WW is born</a:t>
              </a:r>
              <a:endPara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2" name="Group 362"/>
          <p:cNvGrpSpPr/>
          <p:nvPr/>
        </p:nvGrpSpPr>
        <p:grpSpPr>
          <a:xfrm>
            <a:off x="3040077" y="4570161"/>
            <a:ext cx="1585173" cy="480271"/>
            <a:chOff x="2670177" y="2365938"/>
            <a:chExt cx="2259626" cy="536303"/>
          </a:xfrm>
        </p:grpSpPr>
        <p:sp>
          <p:nvSpPr>
            <p:cNvPr id="364" name="Rectangular Callout 363"/>
            <p:cNvSpPr/>
            <p:nvPr/>
          </p:nvSpPr>
          <p:spPr>
            <a:xfrm>
              <a:off x="2670177" y="2365938"/>
              <a:ext cx="2118286" cy="536303"/>
            </a:xfrm>
            <a:prstGeom prst="wedgeRectCallout">
              <a:avLst>
                <a:gd name="adj1" fmla="val -32152"/>
                <a:gd name="adj2" fmla="val 149505"/>
              </a:avLst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  <a:alpha val="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 w="9525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 defTabSz="574675">
                <a:lnSpc>
                  <a:spcPct val="90000"/>
                </a:lnSpc>
                <a:defRPr/>
              </a:pPr>
              <a:endParaRPr lang="en-US" sz="800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65" name="Rectangle 364"/>
            <p:cNvSpPr/>
            <p:nvPr/>
          </p:nvSpPr>
          <p:spPr>
            <a:xfrm>
              <a:off x="2939261" y="2531204"/>
              <a:ext cx="1990542" cy="226832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r>
                <a:rPr lang="en-US" sz="12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igital decade</a:t>
              </a:r>
            </a:p>
          </p:txBody>
        </p:sp>
      </p:grpSp>
      <p:pic>
        <p:nvPicPr>
          <p:cNvPr id="79875" name="Picture 3" descr="\\.PSF\Host\Volumes\EP File Share\Touch\Project Juniper\Development\T519\Artwork\graph_slope A7.png"/>
          <p:cNvPicPr>
            <a:picLocks noChangeAspect="1" noChangeArrowheads="1"/>
          </p:cNvPicPr>
          <p:nvPr/>
        </p:nvPicPr>
        <p:blipFill>
          <a:blip r:embed="rId21" cstate="print"/>
          <a:stretch>
            <a:fillRect/>
          </a:stretch>
        </p:blipFill>
        <p:spPr bwMode="auto">
          <a:xfrm>
            <a:off x="1159588" y="5253394"/>
            <a:ext cx="4270698" cy="594984"/>
          </a:xfrm>
          <a:prstGeom prst="rect">
            <a:avLst/>
          </a:prstGeom>
          <a:noFill/>
        </p:spPr>
      </p:pic>
      <p:pic>
        <p:nvPicPr>
          <p:cNvPr id="79876" name="Picture 4" descr="\\.PSF\Host\Volumes\EP File Share\Touch\Project Juniper\Development\T519\Artwork\graph_slope A6.png"/>
          <p:cNvPicPr>
            <a:picLocks noChangeAspect="1" noChangeArrowheads="1"/>
          </p:cNvPicPr>
          <p:nvPr/>
        </p:nvPicPr>
        <p:blipFill>
          <a:blip r:embed="rId22" cstate="print"/>
          <a:stretch>
            <a:fillRect/>
          </a:stretch>
        </p:blipFill>
        <p:spPr bwMode="auto">
          <a:xfrm>
            <a:off x="5446173" y="1992210"/>
            <a:ext cx="2875609" cy="3960114"/>
          </a:xfrm>
          <a:prstGeom prst="rect">
            <a:avLst/>
          </a:prstGeom>
          <a:noFill/>
        </p:spPr>
      </p:pic>
      <p:pic>
        <p:nvPicPr>
          <p:cNvPr id="27655" name="Picture 7" descr="C:\Users\Administrator\AppData\Local\Microsoft\Windows\Temporary Internet Files\Content.IE5\6R0FJDT9\MCj04417230000[1].png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466847" y="3896411"/>
            <a:ext cx="623842" cy="623842"/>
          </a:xfrm>
          <a:prstGeom prst="rect">
            <a:avLst/>
          </a:prstGeom>
          <a:noFill/>
        </p:spPr>
      </p:pic>
      <p:sp>
        <p:nvSpPr>
          <p:cNvPr id="350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blackWhite">
          <a:xfrm>
            <a:off x="8448987" y="3972114"/>
            <a:ext cx="695014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en-US" sz="900" b="1" dirty="0" smtClean="0">
                <a:solidFill>
                  <a:schemeClr val="tx2">
                    <a:lumMod val="40000"/>
                    <a:lumOff val="60000"/>
                  </a:schemeClr>
                </a:solidFill>
                <a:ea typeface="ＭＳ Ｐゴシック" pitchFamily="34" charset="-128"/>
              </a:rPr>
              <a:t>+36%</a:t>
            </a:r>
          </a:p>
          <a:p>
            <a:pPr eaLnBrk="0" hangingPunct="0"/>
            <a:r>
              <a:rPr lang="en-US" sz="900" b="1" dirty="0" smtClean="0">
                <a:solidFill>
                  <a:schemeClr val="tx2">
                    <a:lumMod val="40000"/>
                    <a:lumOff val="60000"/>
                  </a:schemeClr>
                </a:solidFill>
                <a:ea typeface="ＭＳ Ｐゴシック" pitchFamily="34" charset="-128"/>
              </a:rPr>
              <a:t>Video</a:t>
            </a:r>
            <a:endParaRPr lang="en-US" sz="900" dirty="0">
              <a:solidFill>
                <a:schemeClr val="tx2">
                  <a:lumMod val="40000"/>
                  <a:lumOff val="60000"/>
                </a:schemeClr>
              </a:solidFill>
              <a:ea typeface="ＭＳ Ｐゴシック" pitchFamily="34" charset="-128"/>
            </a:endParaRPr>
          </a:p>
        </p:txBody>
      </p:sp>
      <p:sp>
        <p:nvSpPr>
          <p:cNvPr id="354" name="Text Box 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blackWhite">
          <a:xfrm>
            <a:off x="8452604" y="5170415"/>
            <a:ext cx="691396" cy="4868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en-US" sz="9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34" charset="-128"/>
              </a:rPr>
              <a:t>+24%</a:t>
            </a:r>
          </a:p>
          <a:p>
            <a:pPr eaLnBrk="0" hangingPunct="0"/>
            <a:r>
              <a:rPr lang="en-US" sz="9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34" charset="-128"/>
              </a:rPr>
              <a:t>Non-</a:t>
            </a:r>
            <a:br>
              <a:rPr lang="en-US" sz="9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34" charset="-128"/>
              </a:rPr>
            </a:br>
            <a:r>
              <a:rPr lang="en-US" sz="9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34" charset="-128"/>
              </a:rPr>
              <a:t>video 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  <a:ea typeface="ＭＳ Ｐゴシック" pitchFamily="34" charset="-128"/>
            </a:endParaRPr>
          </a:p>
        </p:txBody>
      </p:sp>
      <p:pic>
        <p:nvPicPr>
          <p:cNvPr id="27656" name="Picture 8" descr="C:\Users\Administrator\AppData\Local\Microsoft\Windows\Temporary Internet Files\Content.IE5\OE8815IQ\MCj04352410000[1].pn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7493995" y="5325669"/>
            <a:ext cx="674325" cy="289330"/>
          </a:xfrm>
          <a:prstGeom prst="rect">
            <a:avLst/>
          </a:prstGeom>
          <a:noFill/>
        </p:spPr>
      </p:pic>
      <p:grpSp>
        <p:nvGrpSpPr>
          <p:cNvPr id="13" name="Group 627"/>
          <p:cNvGrpSpPr/>
          <p:nvPr/>
        </p:nvGrpSpPr>
        <p:grpSpPr>
          <a:xfrm>
            <a:off x="455056" y="1133689"/>
            <a:ext cx="7735899" cy="643776"/>
            <a:chOff x="455056" y="1133689"/>
            <a:chExt cx="7735899" cy="643776"/>
          </a:xfrm>
        </p:grpSpPr>
        <p:sp>
          <p:nvSpPr>
            <p:cNvPr id="363" name="Text Box 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blackWhite">
            <a:xfrm>
              <a:off x="455056" y="1151306"/>
              <a:ext cx="6397436" cy="446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0" hangingPunct="0"/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Worldwide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internet </a:t>
              </a:r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traffic,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1990-2020  </a:t>
              </a:r>
              <a:r>
                <a:rPr lang="en-US" sz="1200" dirty="0" smtClean="0">
                  <a:solidFill>
                    <a:srgbClr val="666666"/>
                  </a:solidFill>
                </a:rPr>
                <a:t>PB/month</a:t>
              </a:r>
              <a:endParaRPr lang="en-US" sz="1200" dirty="0">
                <a:solidFill>
                  <a:srgbClr val="666666"/>
                </a:solidFill>
              </a:endParaRPr>
            </a:p>
          </p:txBody>
        </p:sp>
        <p:grpSp>
          <p:nvGrpSpPr>
            <p:cNvPr id="14" name="Group 331"/>
            <p:cNvGrpSpPr/>
            <p:nvPr/>
          </p:nvGrpSpPr>
          <p:grpSpPr>
            <a:xfrm>
              <a:off x="2263861" y="1133689"/>
              <a:ext cx="5927094" cy="643776"/>
              <a:chOff x="2311685" y="1109598"/>
              <a:chExt cx="5927094" cy="643776"/>
            </a:xfrm>
          </p:grpSpPr>
          <p:cxnSp>
            <p:nvCxnSpPr>
              <p:cNvPr id="648" name="Straight Connector 647"/>
              <p:cNvCxnSpPr>
                <a:endCxn id="863" idx="0"/>
              </p:cNvCxnSpPr>
              <p:nvPr/>
            </p:nvCxnSpPr>
            <p:spPr>
              <a:xfrm flipV="1">
                <a:off x="2311685" y="1311350"/>
                <a:ext cx="5700428" cy="373612"/>
              </a:xfrm>
              <a:prstGeom prst="line">
                <a:avLst/>
              </a:prstGeom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9" name="Oval 648"/>
              <p:cNvSpPr/>
              <p:nvPr/>
            </p:nvSpPr>
            <p:spPr>
              <a:xfrm rot="21443396">
                <a:off x="2324691" y="166169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0" name="Oval 649"/>
              <p:cNvSpPr/>
              <p:nvPr/>
            </p:nvSpPr>
            <p:spPr>
              <a:xfrm rot="21443396">
                <a:off x="2684437" y="161980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1" name="Oval 650"/>
              <p:cNvSpPr/>
              <p:nvPr/>
            </p:nvSpPr>
            <p:spPr>
              <a:xfrm rot="21443396">
                <a:off x="2790322" y="168056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2" name="Oval 651"/>
              <p:cNvSpPr/>
              <p:nvPr/>
            </p:nvSpPr>
            <p:spPr>
              <a:xfrm rot="21443396">
                <a:off x="3136269" y="154090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3" name="Oval 652"/>
              <p:cNvSpPr/>
              <p:nvPr/>
            </p:nvSpPr>
            <p:spPr>
              <a:xfrm rot="21443396">
                <a:off x="3175207" y="164115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4" name="Oval 653"/>
              <p:cNvSpPr/>
              <p:nvPr/>
            </p:nvSpPr>
            <p:spPr>
              <a:xfrm rot="21443396">
                <a:off x="3244718" y="155634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5" name="Oval 654"/>
              <p:cNvSpPr/>
              <p:nvPr/>
            </p:nvSpPr>
            <p:spPr>
              <a:xfrm rot="21443396">
                <a:off x="3695767" y="154319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6" name="Oval 655"/>
              <p:cNvSpPr/>
              <p:nvPr/>
            </p:nvSpPr>
            <p:spPr>
              <a:xfrm rot="21443396">
                <a:off x="3768727" y="162265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7" name="Oval 656"/>
              <p:cNvSpPr/>
              <p:nvPr/>
            </p:nvSpPr>
            <p:spPr>
              <a:xfrm rot="21443396">
                <a:off x="3801650" y="153266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8" name="Oval 657"/>
              <p:cNvSpPr/>
              <p:nvPr/>
            </p:nvSpPr>
            <p:spPr>
              <a:xfrm rot="21443396">
                <a:off x="3656951" y="162204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9" name="Oval 658"/>
              <p:cNvSpPr/>
              <p:nvPr/>
            </p:nvSpPr>
            <p:spPr>
              <a:xfrm rot="21443396">
                <a:off x="4949001" y="144038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0" name="Oval 659"/>
              <p:cNvSpPr/>
              <p:nvPr/>
            </p:nvSpPr>
            <p:spPr>
              <a:xfrm rot="21443396">
                <a:off x="4243756" y="149792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1" name="Oval 660"/>
              <p:cNvSpPr/>
              <p:nvPr/>
            </p:nvSpPr>
            <p:spPr>
              <a:xfrm rot="21443396">
                <a:off x="4280752" y="158587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2" name="Oval 661"/>
              <p:cNvSpPr/>
              <p:nvPr/>
            </p:nvSpPr>
            <p:spPr>
              <a:xfrm rot="21443396">
                <a:off x="4338171" y="150161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3" name="Oval 662"/>
              <p:cNvSpPr/>
              <p:nvPr/>
            </p:nvSpPr>
            <p:spPr>
              <a:xfrm rot="21443396">
                <a:off x="4370126" y="158237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4" name="Oval 663"/>
              <p:cNvSpPr/>
              <p:nvPr/>
            </p:nvSpPr>
            <p:spPr>
              <a:xfrm rot="21443396">
                <a:off x="4435762" y="150115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5" name="Oval 664"/>
              <p:cNvSpPr/>
              <p:nvPr/>
            </p:nvSpPr>
            <p:spPr>
              <a:xfrm rot="21443396">
                <a:off x="4993902" y="152455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6" name="Oval 665"/>
              <p:cNvSpPr/>
              <p:nvPr/>
            </p:nvSpPr>
            <p:spPr>
              <a:xfrm rot="21443396">
                <a:off x="4885147" y="151637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7" name="Oval 666"/>
              <p:cNvSpPr/>
              <p:nvPr/>
            </p:nvSpPr>
            <p:spPr>
              <a:xfrm rot="21443396">
                <a:off x="5068921" y="145718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8" name="Oval 667"/>
              <p:cNvSpPr/>
              <p:nvPr/>
            </p:nvSpPr>
            <p:spPr>
              <a:xfrm rot="21443396">
                <a:off x="5078012" y="155326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9" name="Oval 668"/>
              <p:cNvSpPr/>
              <p:nvPr/>
            </p:nvSpPr>
            <p:spPr>
              <a:xfrm rot="21443396">
                <a:off x="5140865" y="149958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0" name="Oval 669"/>
              <p:cNvSpPr/>
              <p:nvPr/>
            </p:nvSpPr>
            <p:spPr>
              <a:xfrm rot="21443396">
                <a:off x="5477984" y="153616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1" name="Oval 670"/>
              <p:cNvSpPr/>
              <p:nvPr/>
            </p:nvSpPr>
            <p:spPr>
              <a:xfrm rot="21443396">
                <a:off x="5583325" y="152851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2" name="Oval 671"/>
              <p:cNvSpPr/>
              <p:nvPr/>
            </p:nvSpPr>
            <p:spPr>
              <a:xfrm rot="21443396">
                <a:off x="5512933" y="149061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3" name="Oval 672"/>
              <p:cNvSpPr/>
              <p:nvPr/>
            </p:nvSpPr>
            <p:spPr>
              <a:xfrm rot="21443396">
                <a:off x="5624622" y="144498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4" name="Oval 673"/>
              <p:cNvSpPr/>
              <p:nvPr/>
            </p:nvSpPr>
            <p:spPr>
              <a:xfrm rot="21443396">
                <a:off x="5692461" y="150069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5" name="Oval 674"/>
              <p:cNvSpPr/>
              <p:nvPr/>
            </p:nvSpPr>
            <p:spPr>
              <a:xfrm rot="21443396">
                <a:off x="5730194" y="142760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6" name="Oval 675"/>
              <p:cNvSpPr/>
              <p:nvPr/>
            </p:nvSpPr>
            <p:spPr>
              <a:xfrm rot="21443396">
                <a:off x="5548106" y="140564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7" name="Oval 676"/>
              <p:cNvSpPr/>
              <p:nvPr/>
            </p:nvSpPr>
            <p:spPr>
              <a:xfrm rot="21443396">
                <a:off x="5460283" y="141364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8" name="Oval 677"/>
              <p:cNvSpPr/>
              <p:nvPr/>
            </p:nvSpPr>
            <p:spPr>
              <a:xfrm rot="21443396">
                <a:off x="6058620" y="141092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9" name="Oval 678"/>
              <p:cNvSpPr/>
              <p:nvPr/>
            </p:nvSpPr>
            <p:spPr>
              <a:xfrm rot="21443396">
                <a:off x="6046237" y="149370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0" name="Oval 679"/>
              <p:cNvSpPr/>
              <p:nvPr/>
            </p:nvSpPr>
            <p:spPr>
              <a:xfrm rot="21443396">
                <a:off x="6151578" y="148604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1" name="Oval 680"/>
              <p:cNvSpPr/>
              <p:nvPr/>
            </p:nvSpPr>
            <p:spPr>
              <a:xfrm rot="21443396">
                <a:off x="6081186" y="144814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2" name="Oval 681"/>
              <p:cNvSpPr/>
              <p:nvPr/>
            </p:nvSpPr>
            <p:spPr>
              <a:xfrm rot="21443396">
                <a:off x="6192875" y="140252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3" name="Oval 682"/>
              <p:cNvSpPr/>
              <p:nvPr/>
            </p:nvSpPr>
            <p:spPr>
              <a:xfrm rot="21443396">
                <a:off x="6260714" y="145823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4" name="Oval 683"/>
              <p:cNvSpPr/>
              <p:nvPr/>
            </p:nvSpPr>
            <p:spPr>
              <a:xfrm rot="21443396">
                <a:off x="6298447" y="138514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5" name="Oval 684"/>
              <p:cNvSpPr/>
              <p:nvPr/>
            </p:nvSpPr>
            <p:spPr>
              <a:xfrm rot="21443396">
                <a:off x="6116359" y="136318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6" name="Oval 685"/>
              <p:cNvSpPr/>
              <p:nvPr/>
            </p:nvSpPr>
            <p:spPr>
              <a:xfrm rot="21443396">
                <a:off x="6028536" y="137118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7" name="Oval 686"/>
              <p:cNvSpPr/>
              <p:nvPr/>
            </p:nvSpPr>
            <p:spPr>
              <a:xfrm rot="21443396">
                <a:off x="6178858" y="146424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8" name="Oval 687"/>
              <p:cNvSpPr/>
              <p:nvPr/>
            </p:nvSpPr>
            <p:spPr>
              <a:xfrm rot="21443396">
                <a:off x="6284199" y="145659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9" name="Oval 688"/>
              <p:cNvSpPr/>
              <p:nvPr/>
            </p:nvSpPr>
            <p:spPr>
              <a:xfrm rot="21443396">
                <a:off x="6213806" y="141869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0" name="Oval 689"/>
              <p:cNvSpPr/>
              <p:nvPr/>
            </p:nvSpPr>
            <p:spPr>
              <a:xfrm rot="21443396">
                <a:off x="6325495" y="137306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1" name="Oval 690"/>
              <p:cNvSpPr/>
              <p:nvPr/>
            </p:nvSpPr>
            <p:spPr>
              <a:xfrm rot="21443396">
                <a:off x="6393335" y="142878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2" name="Oval 691"/>
              <p:cNvSpPr/>
              <p:nvPr/>
            </p:nvSpPr>
            <p:spPr>
              <a:xfrm rot="21443396">
                <a:off x="6431068" y="135569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3" name="Oval 692"/>
              <p:cNvSpPr/>
              <p:nvPr/>
            </p:nvSpPr>
            <p:spPr>
              <a:xfrm rot="21443396">
                <a:off x="6248979" y="133373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4" name="Oval 693"/>
              <p:cNvSpPr/>
              <p:nvPr/>
            </p:nvSpPr>
            <p:spPr>
              <a:xfrm rot="21443396">
                <a:off x="6161157" y="134173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5" name="Oval 694"/>
              <p:cNvSpPr/>
              <p:nvPr/>
            </p:nvSpPr>
            <p:spPr>
              <a:xfrm rot="21443396">
                <a:off x="6743370" y="138276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6" name="Oval 695"/>
              <p:cNvSpPr/>
              <p:nvPr/>
            </p:nvSpPr>
            <p:spPr>
              <a:xfrm rot="21443396">
                <a:off x="6730987" y="146554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7" name="Oval 696"/>
              <p:cNvSpPr/>
              <p:nvPr/>
            </p:nvSpPr>
            <p:spPr>
              <a:xfrm rot="21443396">
                <a:off x="6836328" y="145788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8" name="Oval 697"/>
              <p:cNvSpPr/>
              <p:nvPr/>
            </p:nvSpPr>
            <p:spPr>
              <a:xfrm rot="21443396">
                <a:off x="6765936" y="141998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9" name="Oval 698"/>
              <p:cNvSpPr/>
              <p:nvPr/>
            </p:nvSpPr>
            <p:spPr>
              <a:xfrm rot="21443396">
                <a:off x="6877625" y="137435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0" name="Oval 699"/>
              <p:cNvSpPr/>
              <p:nvPr/>
            </p:nvSpPr>
            <p:spPr>
              <a:xfrm rot="21443396">
                <a:off x="6945464" y="143007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1" name="Oval 700"/>
              <p:cNvSpPr/>
              <p:nvPr/>
            </p:nvSpPr>
            <p:spPr>
              <a:xfrm rot="21443396">
                <a:off x="6983197" y="135698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2" name="Oval 701"/>
              <p:cNvSpPr/>
              <p:nvPr/>
            </p:nvSpPr>
            <p:spPr>
              <a:xfrm rot="21443396">
                <a:off x="6801109" y="133502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3" name="Oval 702"/>
              <p:cNvSpPr/>
              <p:nvPr/>
            </p:nvSpPr>
            <p:spPr>
              <a:xfrm rot="21443396">
                <a:off x="6713286" y="134302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4" name="Oval 703"/>
              <p:cNvSpPr/>
              <p:nvPr/>
            </p:nvSpPr>
            <p:spPr>
              <a:xfrm rot="21443396">
                <a:off x="6863608" y="143608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5" name="Oval 704"/>
              <p:cNvSpPr/>
              <p:nvPr/>
            </p:nvSpPr>
            <p:spPr>
              <a:xfrm rot="21443396">
                <a:off x="6968949" y="142843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6" name="Oval 705"/>
              <p:cNvSpPr/>
              <p:nvPr/>
            </p:nvSpPr>
            <p:spPr>
              <a:xfrm rot="21443396">
                <a:off x="6898556" y="139053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7" name="Oval 706"/>
              <p:cNvSpPr/>
              <p:nvPr/>
            </p:nvSpPr>
            <p:spPr>
              <a:xfrm rot="21443396">
                <a:off x="7010245" y="134490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8" name="Oval 707"/>
              <p:cNvSpPr/>
              <p:nvPr/>
            </p:nvSpPr>
            <p:spPr>
              <a:xfrm rot="21443396">
                <a:off x="7078085" y="140061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9" name="Oval 708"/>
              <p:cNvSpPr/>
              <p:nvPr/>
            </p:nvSpPr>
            <p:spPr>
              <a:xfrm rot="21443396">
                <a:off x="7115818" y="132752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0" name="Oval 709"/>
              <p:cNvSpPr/>
              <p:nvPr/>
            </p:nvSpPr>
            <p:spPr>
              <a:xfrm rot="21443396">
                <a:off x="6933729" y="130557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1" name="Oval 710"/>
              <p:cNvSpPr/>
              <p:nvPr/>
            </p:nvSpPr>
            <p:spPr>
              <a:xfrm rot="21443396">
                <a:off x="6845907" y="131357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2" name="Oval 711"/>
              <p:cNvSpPr/>
              <p:nvPr/>
            </p:nvSpPr>
            <p:spPr>
              <a:xfrm rot="21443396">
                <a:off x="6865925" y="139830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3" name="Oval 712"/>
              <p:cNvSpPr/>
              <p:nvPr/>
            </p:nvSpPr>
            <p:spPr>
              <a:xfrm rot="21443396">
                <a:off x="6853542" y="148108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4" name="Oval 713"/>
              <p:cNvSpPr/>
              <p:nvPr/>
            </p:nvSpPr>
            <p:spPr>
              <a:xfrm rot="21443396">
                <a:off x="6958883" y="147342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5" name="Oval 714"/>
              <p:cNvSpPr/>
              <p:nvPr/>
            </p:nvSpPr>
            <p:spPr>
              <a:xfrm rot="21443396">
                <a:off x="6888491" y="143552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6" name="Oval 715"/>
              <p:cNvSpPr/>
              <p:nvPr/>
            </p:nvSpPr>
            <p:spPr>
              <a:xfrm rot="21443396">
                <a:off x="7000180" y="138989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7" name="Oval 716"/>
              <p:cNvSpPr/>
              <p:nvPr/>
            </p:nvSpPr>
            <p:spPr>
              <a:xfrm rot="21443396">
                <a:off x="7068019" y="144561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8" name="Oval 717"/>
              <p:cNvSpPr/>
              <p:nvPr/>
            </p:nvSpPr>
            <p:spPr>
              <a:xfrm rot="21443396">
                <a:off x="7105752" y="137252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9" name="Oval 718"/>
              <p:cNvSpPr/>
              <p:nvPr/>
            </p:nvSpPr>
            <p:spPr>
              <a:xfrm rot="21443396">
                <a:off x="6923664" y="135056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0" name="Oval 719"/>
              <p:cNvSpPr/>
              <p:nvPr/>
            </p:nvSpPr>
            <p:spPr>
              <a:xfrm rot="21443396">
                <a:off x="6835841" y="135856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1" name="Oval 720"/>
              <p:cNvSpPr/>
              <p:nvPr/>
            </p:nvSpPr>
            <p:spPr>
              <a:xfrm rot="21443396">
                <a:off x="6986163" y="145162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2" name="Oval 721"/>
              <p:cNvSpPr/>
              <p:nvPr/>
            </p:nvSpPr>
            <p:spPr>
              <a:xfrm rot="21443396">
                <a:off x="7091504" y="144397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3" name="Oval 722"/>
              <p:cNvSpPr/>
              <p:nvPr/>
            </p:nvSpPr>
            <p:spPr>
              <a:xfrm rot="21443396">
                <a:off x="7021111" y="140607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4" name="Oval 723"/>
              <p:cNvSpPr/>
              <p:nvPr/>
            </p:nvSpPr>
            <p:spPr>
              <a:xfrm rot="21443396">
                <a:off x="7132800" y="136044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5" name="Oval 724"/>
              <p:cNvSpPr/>
              <p:nvPr/>
            </p:nvSpPr>
            <p:spPr>
              <a:xfrm rot="21443396">
                <a:off x="7200640" y="141615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6" name="Oval 725"/>
              <p:cNvSpPr/>
              <p:nvPr/>
            </p:nvSpPr>
            <p:spPr>
              <a:xfrm rot="21443396">
                <a:off x="7238372" y="134306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7" name="Oval 726"/>
              <p:cNvSpPr/>
              <p:nvPr/>
            </p:nvSpPr>
            <p:spPr>
              <a:xfrm rot="21443396">
                <a:off x="7056284" y="132110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8" name="Oval 727"/>
              <p:cNvSpPr/>
              <p:nvPr/>
            </p:nvSpPr>
            <p:spPr>
              <a:xfrm rot="21443396">
                <a:off x="6968462" y="132910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9" name="Oval 728"/>
              <p:cNvSpPr/>
              <p:nvPr/>
            </p:nvSpPr>
            <p:spPr>
              <a:xfrm rot="21443396">
                <a:off x="7539398" y="129786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0" name="Oval 729"/>
              <p:cNvSpPr/>
              <p:nvPr/>
            </p:nvSpPr>
            <p:spPr>
              <a:xfrm rot="21443396">
                <a:off x="7527015" y="138064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1" name="Oval 730"/>
              <p:cNvSpPr/>
              <p:nvPr/>
            </p:nvSpPr>
            <p:spPr>
              <a:xfrm rot="21443396">
                <a:off x="7632356" y="137298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2" name="Oval 731"/>
              <p:cNvSpPr/>
              <p:nvPr/>
            </p:nvSpPr>
            <p:spPr>
              <a:xfrm rot="21443396">
                <a:off x="7561964" y="133508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3" name="Oval 732"/>
              <p:cNvSpPr/>
              <p:nvPr/>
            </p:nvSpPr>
            <p:spPr>
              <a:xfrm rot="21443396">
                <a:off x="7673653" y="128946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4" name="Oval 733"/>
              <p:cNvSpPr/>
              <p:nvPr/>
            </p:nvSpPr>
            <p:spPr>
              <a:xfrm rot="21443396">
                <a:off x="7741492" y="134517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5" name="Oval 734"/>
              <p:cNvSpPr/>
              <p:nvPr/>
            </p:nvSpPr>
            <p:spPr>
              <a:xfrm rot="21443396">
                <a:off x="7779225" y="127208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6" name="Oval 735"/>
              <p:cNvSpPr/>
              <p:nvPr/>
            </p:nvSpPr>
            <p:spPr>
              <a:xfrm rot="21443396">
                <a:off x="7597137" y="125012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7" name="Oval 736"/>
              <p:cNvSpPr/>
              <p:nvPr/>
            </p:nvSpPr>
            <p:spPr>
              <a:xfrm rot="21443396">
                <a:off x="7509314" y="125812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8" name="Oval 737"/>
              <p:cNvSpPr/>
              <p:nvPr/>
            </p:nvSpPr>
            <p:spPr>
              <a:xfrm rot="21443396">
                <a:off x="7659636" y="135119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9" name="Oval 738"/>
              <p:cNvSpPr/>
              <p:nvPr/>
            </p:nvSpPr>
            <p:spPr>
              <a:xfrm rot="21443396">
                <a:off x="7764977" y="134353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0" name="Oval 739"/>
              <p:cNvSpPr/>
              <p:nvPr/>
            </p:nvSpPr>
            <p:spPr>
              <a:xfrm rot="21443396">
                <a:off x="7694584" y="130563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1" name="Oval 740"/>
              <p:cNvSpPr/>
              <p:nvPr/>
            </p:nvSpPr>
            <p:spPr>
              <a:xfrm rot="21443396">
                <a:off x="7806273" y="126000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2" name="Oval 741"/>
              <p:cNvSpPr/>
              <p:nvPr/>
            </p:nvSpPr>
            <p:spPr>
              <a:xfrm rot="21443396">
                <a:off x="7874113" y="131572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3" name="Oval 742"/>
              <p:cNvSpPr/>
              <p:nvPr/>
            </p:nvSpPr>
            <p:spPr>
              <a:xfrm rot="21443396">
                <a:off x="7911845" y="124263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4" name="Oval 743"/>
              <p:cNvSpPr/>
              <p:nvPr/>
            </p:nvSpPr>
            <p:spPr>
              <a:xfrm rot="21443396">
                <a:off x="7729757" y="122067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5" name="Oval 744"/>
              <p:cNvSpPr/>
              <p:nvPr/>
            </p:nvSpPr>
            <p:spPr>
              <a:xfrm rot="21443396">
                <a:off x="7641935" y="122867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6" name="Oval 745"/>
              <p:cNvSpPr/>
              <p:nvPr/>
            </p:nvSpPr>
            <p:spPr>
              <a:xfrm rot="21443396">
                <a:off x="7661953" y="131340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7" name="Oval 746"/>
              <p:cNvSpPr/>
              <p:nvPr/>
            </p:nvSpPr>
            <p:spPr>
              <a:xfrm rot="21443396">
                <a:off x="7649570" y="139618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8" name="Oval 747"/>
              <p:cNvSpPr/>
              <p:nvPr/>
            </p:nvSpPr>
            <p:spPr>
              <a:xfrm rot="21443396">
                <a:off x="7754911" y="138852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9" name="Oval 748"/>
              <p:cNvSpPr/>
              <p:nvPr/>
            </p:nvSpPr>
            <p:spPr>
              <a:xfrm rot="21443396">
                <a:off x="7684519" y="135062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0" name="Oval 749"/>
              <p:cNvSpPr/>
              <p:nvPr/>
            </p:nvSpPr>
            <p:spPr>
              <a:xfrm rot="21443396">
                <a:off x="7796207" y="130499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1" name="Oval 750"/>
              <p:cNvSpPr/>
              <p:nvPr/>
            </p:nvSpPr>
            <p:spPr>
              <a:xfrm rot="21443396">
                <a:off x="7864047" y="136071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2" name="Oval 751"/>
              <p:cNvSpPr/>
              <p:nvPr/>
            </p:nvSpPr>
            <p:spPr>
              <a:xfrm rot="21443396">
                <a:off x="7901780" y="128762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3" name="Oval 752"/>
              <p:cNvSpPr/>
              <p:nvPr/>
            </p:nvSpPr>
            <p:spPr>
              <a:xfrm rot="21443396">
                <a:off x="7719692" y="126566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4" name="Oval 753"/>
              <p:cNvSpPr/>
              <p:nvPr/>
            </p:nvSpPr>
            <p:spPr>
              <a:xfrm rot="21443396">
                <a:off x="7631869" y="127366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5" name="Oval 754"/>
              <p:cNvSpPr/>
              <p:nvPr/>
            </p:nvSpPr>
            <p:spPr>
              <a:xfrm rot="21443396">
                <a:off x="7782191" y="136672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6" name="Oval 755"/>
              <p:cNvSpPr/>
              <p:nvPr/>
            </p:nvSpPr>
            <p:spPr>
              <a:xfrm rot="21443396">
                <a:off x="7887532" y="135907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7" name="Oval 756"/>
              <p:cNvSpPr/>
              <p:nvPr/>
            </p:nvSpPr>
            <p:spPr>
              <a:xfrm rot="21443396">
                <a:off x="7817139" y="132117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8" name="Oval 757"/>
              <p:cNvSpPr/>
              <p:nvPr/>
            </p:nvSpPr>
            <p:spPr>
              <a:xfrm rot="21443396">
                <a:off x="7928828" y="127554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9" name="Oval 758"/>
              <p:cNvSpPr/>
              <p:nvPr/>
            </p:nvSpPr>
            <p:spPr>
              <a:xfrm rot="21443396">
                <a:off x="7996667" y="133126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0" name="Oval 759"/>
              <p:cNvSpPr/>
              <p:nvPr/>
            </p:nvSpPr>
            <p:spPr>
              <a:xfrm rot="21443396">
                <a:off x="8034400" y="125817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1" name="Oval 760"/>
              <p:cNvSpPr/>
              <p:nvPr/>
            </p:nvSpPr>
            <p:spPr>
              <a:xfrm rot="21443396">
                <a:off x="7852312" y="123621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2" name="Oval 761"/>
              <p:cNvSpPr/>
              <p:nvPr/>
            </p:nvSpPr>
            <p:spPr>
              <a:xfrm rot="21443396">
                <a:off x="7764489" y="124421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3" name="Oval 762"/>
              <p:cNvSpPr/>
              <p:nvPr/>
            </p:nvSpPr>
            <p:spPr>
              <a:xfrm rot="21443396">
                <a:off x="7599310" y="126829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4" name="Oval 763"/>
              <p:cNvSpPr/>
              <p:nvPr/>
            </p:nvSpPr>
            <p:spPr>
              <a:xfrm rot="21443396">
                <a:off x="7586926" y="135107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5" name="Oval 764"/>
              <p:cNvSpPr/>
              <p:nvPr/>
            </p:nvSpPr>
            <p:spPr>
              <a:xfrm rot="21443396">
                <a:off x="7692268" y="134342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6" name="Oval 765"/>
              <p:cNvSpPr/>
              <p:nvPr/>
            </p:nvSpPr>
            <p:spPr>
              <a:xfrm rot="21443396">
                <a:off x="7621875" y="130552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7" name="Oval 766"/>
              <p:cNvSpPr/>
              <p:nvPr/>
            </p:nvSpPr>
            <p:spPr>
              <a:xfrm rot="21443396">
                <a:off x="7733564" y="125989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8" name="Oval 767"/>
              <p:cNvSpPr/>
              <p:nvPr/>
            </p:nvSpPr>
            <p:spPr>
              <a:xfrm rot="21443396">
                <a:off x="7801403" y="131561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9" name="Oval 768"/>
              <p:cNvSpPr/>
              <p:nvPr/>
            </p:nvSpPr>
            <p:spPr>
              <a:xfrm rot="21443396">
                <a:off x="7839136" y="124252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0" name="Oval 769"/>
              <p:cNvSpPr/>
              <p:nvPr/>
            </p:nvSpPr>
            <p:spPr>
              <a:xfrm rot="21443396">
                <a:off x="7657048" y="122056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1" name="Oval 770"/>
              <p:cNvSpPr/>
              <p:nvPr/>
            </p:nvSpPr>
            <p:spPr>
              <a:xfrm rot="21443396">
                <a:off x="7569225" y="122856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2" name="Oval 771"/>
              <p:cNvSpPr/>
              <p:nvPr/>
            </p:nvSpPr>
            <p:spPr>
              <a:xfrm rot="21443396">
                <a:off x="7719547" y="132162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3" name="Oval 772"/>
              <p:cNvSpPr/>
              <p:nvPr/>
            </p:nvSpPr>
            <p:spPr>
              <a:xfrm rot="21443396">
                <a:off x="7824888" y="131396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4" name="Oval 773"/>
              <p:cNvSpPr/>
              <p:nvPr/>
            </p:nvSpPr>
            <p:spPr>
              <a:xfrm rot="21443396">
                <a:off x="7754496" y="127606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5" name="Oval 774"/>
              <p:cNvSpPr/>
              <p:nvPr/>
            </p:nvSpPr>
            <p:spPr>
              <a:xfrm rot="21443396">
                <a:off x="7866185" y="123043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6" name="Oval 775"/>
              <p:cNvSpPr/>
              <p:nvPr/>
            </p:nvSpPr>
            <p:spPr>
              <a:xfrm rot="21443396">
                <a:off x="7934024" y="128615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7" name="Oval 776"/>
              <p:cNvSpPr/>
              <p:nvPr/>
            </p:nvSpPr>
            <p:spPr>
              <a:xfrm rot="21443396">
                <a:off x="7971757" y="121306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8" name="Oval 777"/>
              <p:cNvSpPr/>
              <p:nvPr/>
            </p:nvSpPr>
            <p:spPr>
              <a:xfrm rot="21443396">
                <a:off x="7789669" y="119110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9" name="Oval 778"/>
              <p:cNvSpPr/>
              <p:nvPr/>
            </p:nvSpPr>
            <p:spPr>
              <a:xfrm rot="21443396">
                <a:off x="7701846" y="119910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0" name="Oval 779"/>
              <p:cNvSpPr/>
              <p:nvPr/>
            </p:nvSpPr>
            <p:spPr>
              <a:xfrm rot="21443396">
                <a:off x="7721865" y="128383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1" name="Oval 780"/>
              <p:cNvSpPr/>
              <p:nvPr/>
            </p:nvSpPr>
            <p:spPr>
              <a:xfrm rot="21443396">
                <a:off x="7709481" y="136661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2" name="Oval 781"/>
              <p:cNvSpPr/>
              <p:nvPr/>
            </p:nvSpPr>
            <p:spPr>
              <a:xfrm rot="21443396">
                <a:off x="7814823" y="135896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3" name="Oval 782"/>
              <p:cNvSpPr/>
              <p:nvPr/>
            </p:nvSpPr>
            <p:spPr>
              <a:xfrm rot="21443396">
                <a:off x="7744430" y="132106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4" name="Oval 783"/>
              <p:cNvSpPr/>
              <p:nvPr/>
            </p:nvSpPr>
            <p:spPr>
              <a:xfrm rot="21443396">
                <a:off x="7856119" y="127543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5" name="Oval 784"/>
              <p:cNvSpPr/>
              <p:nvPr/>
            </p:nvSpPr>
            <p:spPr>
              <a:xfrm rot="21443396">
                <a:off x="7923958" y="133114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6" name="Oval 785"/>
              <p:cNvSpPr/>
              <p:nvPr/>
            </p:nvSpPr>
            <p:spPr>
              <a:xfrm rot="21443396">
                <a:off x="7961691" y="125806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7" name="Oval 786"/>
              <p:cNvSpPr/>
              <p:nvPr/>
            </p:nvSpPr>
            <p:spPr>
              <a:xfrm rot="21443396">
                <a:off x="7779603" y="123610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8" name="Oval 787"/>
              <p:cNvSpPr/>
              <p:nvPr/>
            </p:nvSpPr>
            <p:spPr>
              <a:xfrm rot="21443396">
                <a:off x="7691780" y="124410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9" name="Oval 788"/>
              <p:cNvSpPr/>
              <p:nvPr/>
            </p:nvSpPr>
            <p:spPr>
              <a:xfrm rot="21443396">
                <a:off x="7842102" y="133716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0" name="Oval 789"/>
              <p:cNvSpPr/>
              <p:nvPr/>
            </p:nvSpPr>
            <p:spPr>
              <a:xfrm rot="21443396">
                <a:off x="7947443" y="132950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1" name="Oval 790"/>
              <p:cNvSpPr/>
              <p:nvPr/>
            </p:nvSpPr>
            <p:spPr>
              <a:xfrm rot="21443396">
                <a:off x="7877051" y="129160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2" name="Oval 791"/>
              <p:cNvSpPr/>
              <p:nvPr/>
            </p:nvSpPr>
            <p:spPr>
              <a:xfrm rot="21443396">
                <a:off x="7988740" y="124597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3" name="Oval 792"/>
              <p:cNvSpPr/>
              <p:nvPr/>
            </p:nvSpPr>
            <p:spPr>
              <a:xfrm rot="21443396">
                <a:off x="8056579" y="130169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4" name="Oval 793"/>
              <p:cNvSpPr/>
              <p:nvPr/>
            </p:nvSpPr>
            <p:spPr>
              <a:xfrm rot="21443396">
                <a:off x="8094312" y="122860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5" name="Oval 794"/>
              <p:cNvSpPr/>
              <p:nvPr/>
            </p:nvSpPr>
            <p:spPr>
              <a:xfrm rot="21443396">
                <a:off x="7912224" y="120664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6" name="Oval 795"/>
              <p:cNvSpPr/>
              <p:nvPr/>
            </p:nvSpPr>
            <p:spPr>
              <a:xfrm rot="21443396">
                <a:off x="7824401" y="121464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7" name="Oval 796"/>
              <p:cNvSpPr/>
              <p:nvPr/>
            </p:nvSpPr>
            <p:spPr>
              <a:xfrm rot="21443396">
                <a:off x="7596267" y="118679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8" name="Oval 797"/>
              <p:cNvSpPr/>
              <p:nvPr/>
            </p:nvSpPr>
            <p:spPr>
              <a:xfrm rot="21443396">
                <a:off x="7583884" y="126957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9" name="Oval 798"/>
              <p:cNvSpPr/>
              <p:nvPr/>
            </p:nvSpPr>
            <p:spPr>
              <a:xfrm rot="21443396">
                <a:off x="7689225" y="126191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0" name="Oval 799"/>
              <p:cNvSpPr/>
              <p:nvPr/>
            </p:nvSpPr>
            <p:spPr>
              <a:xfrm rot="21443396">
                <a:off x="7618832" y="122401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1" name="Oval 800"/>
              <p:cNvSpPr/>
              <p:nvPr/>
            </p:nvSpPr>
            <p:spPr>
              <a:xfrm rot="21443396">
                <a:off x="7730521" y="117838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2" name="Oval 801"/>
              <p:cNvSpPr/>
              <p:nvPr/>
            </p:nvSpPr>
            <p:spPr>
              <a:xfrm rot="21443396">
                <a:off x="7798361" y="123410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3" name="Oval 802"/>
              <p:cNvSpPr/>
              <p:nvPr/>
            </p:nvSpPr>
            <p:spPr>
              <a:xfrm rot="21443396">
                <a:off x="7836094" y="116101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4" name="Oval 803"/>
              <p:cNvSpPr/>
              <p:nvPr/>
            </p:nvSpPr>
            <p:spPr>
              <a:xfrm rot="21443396">
                <a:off x="7654005" y="113905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5" name="Oval 804"/>
              <p:cNvSpPr/>
              <p:nvPr/>
            </p:nvSpPr>
            <p:spPr>
              <a:xfrm rot="21443396">
                <a:off x="7566183" y="114705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6" name="Oval 805"/>
              <p:cNvSpPr/>
              <p:nvPr/>
            </p:nvSpPr>
            <p:spPr>
              <a:xfrm rot="21443396">
                <a:off x="7716504" y="124011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7" name="Oval 806"/>
              <p:cNvSpPr/>
              <p:nvPr/>
            </p:nvSpPr>
            <p:spPr>
              <a:xfrm rot="21443396">
                <a:off x="7821846" y="123246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8" name="Oval 807"/>
              <p:cNvSpPr/>
              <p:nvPr/>
            </p:nvSpPr>
            <p:spPr>
              <a:xfrm rot="21443396">
                <a:off x="7751453" y="119456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9" name="Oval 808"/>
              <p:cNvSpPr/>
              <p:nvPr/>
            </p:nvSpPr>
            <p:spPr>
              <a:xfrm rot="21443396">
                <a:off x="7863142" y="114893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0" name="Oval 809"/>
              <p:cNvSpPr/>
              <p:nvPr/>
            </p:nvSpPr>
            <p:spPr>
              <a:xfrm rot="21443396">
                <a:off x="7930981" y="120464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1" name="Oval 810"/>
              <p:cNvSpPr/>
              <p:nvPr/>
            </p:nvSpPr>
            <p:spPr>
              <a:xfrm rot="21443396">
                <a:off x="7968714" y="113155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2" name="Oval 811"/>
              <p:cNvSpPr/>
              <p:nvPr/>
            </p:nvSpPr>
            <p:spPr>
              <a:xfrm rot="21443396">
                <a:off x="7786626" y="110959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3" name="Oval 812"/>
              <p:cNvSpPr/>
              <p:nvPr/>
            </p:nvSpPr>
            <p:spPr>
              <a:xfrm rot="21443396">
                <a:off x="7698803" y="111759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4" name="Oval 813"/>
              <p:cNvSpPr/>
              <p:nvPr/>
            </p:nvSpPr>
            <p:spPr>
              <a:xfrm rot="21443396">
                <a:off x="7718822" y="120232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5" name="Oval 814"/>
              <p:cNvSpPr/>
              <p:nvPr/>
            </p:nvSpPr>
            <p:spPr>
              <a:xfrm rot="21443396">
                <a:off x="7706439" y="128511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6" name="Oval 815"/>
              <p:cNvSpPr/>
              <p:nvPr/>
            </p:nvSpPr>
            <p:spPr>
              <a:xfrm rot="21443396">
                <a:off x="7811780" y="127745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7" name="Oval 816"/>
              <p:cNvSpPr/>
              <p:nvPr/>
            </p:nvSpPr>
            <p:spPr>
              <a:xfrm rot="21443396">
                <a:off x="7741387" y="123955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8" name="Oval 817"/>
              <p:cNvSpPr/>
              <p:nvPr/>
            </p:nvSpPr>
            <p:spPr>
              <a:xfrm rot="21443396">
                <a:off x="7853076" y="119392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9" name="Oval 818"/>
              <p:cNvSpPr/>
              <p:nvPr/>
            </p:nvSpPr>
            <p:spPr>
              <a:xfrm rot="21443396">
                <a:off x="7920916" y="124964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0" name="Oval 819"/>
              <p:cNvSpPr/>
              <p:nvPr/>
            </p:nvSpPr>
            <p:spPr>
              <a:xfrm rot="21443396">
                <a:off x="7958648" y="117655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1" name="Oval 820"/>
              <p:cNvSpPr/>
              <p:nvPr/>
            </p:nvSpPr>
            <p:spPr>
              <a:xfrm rot="21443396">
                <a:off x="7776560" y="115459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2" name="Oval 821"/>
              <p:cNvSpPr/>
              <p:nvPr/>
            </p:nvSpPr>
            <p:spPr>
              <a:xfrm rot="21443396">
                <a:off x="7688738" y="116259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3" name="Oval 822"/>
              <p:cNvSpPr/>
              <p:nvPr/>
            </p:nvSpPr>
            <p:spPr>
              <a:xfrm rot="21443396">
                <a:off x="7839059" y="125565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4" name="Oval 823"/>
              <p:cNvSpPr/>
              <p:nvPr/>
            </p:nvSpPr>
            <p:spPr>
              <a:xfrm rot="21443396">
                <a:off x="7944401" y="124799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5" name="Oval 824"/>
              <p:cNvSpPr/>
              <p:nvPr/>
            </p:nvSpPr>
            <p:spPr>
              <a:xfrm rot="21443396">
                <a:off x="7874008" y="121009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6" name="Oval 825"/>
              <p:cNvSpPr/>
              <p:nvPr/>
            </p:nvSpPr>
            <p:spPr>
              <a:xfrm rot="21443396">
                <a:off x="7985697" y="116447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7" name="Oval 826"/>
              <p:cNvSpPr/>
              <p:nvPr/>
            </p:nvSpPr>
            <p:spPr>
              <a:xfrm rot="21443396">
                <a:off x="8053536" y="122018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8" name="Oval 827"/>
              <p:cNvSpPr/>
              <p:nvPr/>
            </p:nvSpPr>
            <p:spPr>
              <a:xfrm rot="21443396">
                <a:off x="8091269" y="114709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9" name="Oval 828"/>
              <p:cNvSpPr/>
              <p:nvPr/>
            </p:nvSpPr>
            <p:spPr>
              <a:xfrm rot="21443396">
                <a:off x="7909181" y="112513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0" name="Oval 829"/>
              <p:cNvSpPr/>
              <p:nvPr/>
            </p:nvSpPr>
            <p:spPr>
              <a:xfrm rot="21443396">
                <a:off x="7821358" y="113313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1" name="Oval 830"/>
              <p:cNvSpPr/>
              <p:nvPr/>
            </p:nvSpPr>
            <p:spPr>
              <a:xfrm rot="21443396">
                <a:off x="7657936" y="137296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2" name="Oval 831"/>
              <p:cNvSpPr/>
              <p:nvPr/>
            </p:nvSpPr>
            <p:spPr>
              <a:xfrm rot="21443396">
                <a:off x="7645552" y="145574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3" name="Oval 832"/>
              <p:cNvSpPr/>
              <p:nvPr/>
            </p:nvSpPr>
            <p:spPr>
              <a:xfrm rot="21443396">
                <a:off x="7750894" y="144809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4" name="Oval 833"/>
              <p:cNvSpPr/>
              <p:nvPr/>
            </p:nvSpPr>
            <p:spPr>
              <a:xfrm rot="21443396">
                <a:off x="7680501" y="141019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5" name="Oval 834"/>
              <p:cNvSpPr/>
              <p:nvPr/>
            </p:nvSpPr>
            <p:spPr>
              <a:xfrm rot="21443396">
                <a:off x="7792190" y="136456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6" name="Oval 835"/>
              <p:cNvSpPr/>
              <p:nvPr/>
            </p:nvSpPr>
            <p:spPr>
              <a:xfrm rot="21443396">
                <a:off x="7860029" y="142027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7" name="Oval 836"/>
              <p:cNvSpPr/>
              <p:nvPr/>
            </p:nvSpPr>
            <p:spPr>
              <a:xfrm rot="21443396">
                <a:off x="7897762" y="134718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8" name="Oval 837"/>
              <p:cNvSpPr/>
              <p:nvPr/>
            </p:nvSpPr>
            <p:spPr>
              <a:xfrm rot="21443396">
                <a:off x="7715674" y="132522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9" name="Oval 838"/>
              <p:cNvSpPr/>
              <p:nvPr/>
            </p:nvSpPr>
            <p:spPr>
              <a:xfrm rot="21443396">
                <a:off x="7627851" y="133322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0" name="Oval 839"/>
              <p:cNvSpPr/>
              <p:nvPr/>
            </p:nvSpPr>
            <p:spPr>
              <a:xfrm rot="21443396">
                <a:off x="7778173" y="142629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1" name="Oval 840"/>
              <p:cNvSpPr/>
              <p:nvPr/>
            </p:nvSpPr>
            <p:spPr>
              <a:xfrm rot="21443396">
                <a:off x="7883514" y="141863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2" name="Oval 841"/>
              <p:cNvSpPr/>
              <p:nvPr/>
            </p:nvSpPr>
            <p:spPr>
              <a:xfrm rot="21443396">
                <a:off x="7813122" y="138073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3" name="Oval 842"/>
              <p:cNvSpPr/>
              <p:nvPr/>
            </p:nvSpPr>
            <p:spPr>
              <a:xfrm rot="21443396">
                <a:off x="7924811" y="133510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4" name="Oval 843"/>
              <p:cNvSpPr/>
              <p:nvPr/>
            </p:nvSpPr>
            <p:spPr>
              <a:xfrm rot="21443396">
                <a:off x="7992650" y="139082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5" name="Oval 844"/>
              <p:cNvSpPr/>
              <p:nvPr/>
            </p:nvSpPr>
            <p:spPr>
              <a:xfrm rot="21443396">
                <a:off x="8030383" y="131773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6" name="Oval 845"/>
              <p:cNvSpPr/>
              <p:nvPr/>
            </p:nvSpPr>
            <p:spPr>
              <a:xfrm rot="21443396">
                <a:off x="7848295" y="129577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7" name="Oval 846"/>
              <p:cNvSpPr/>
              <p:nvPr/>
            </p:nvSpPr>
            <p:spPr>
              <a:xfrm rot="21443396">
                <a:off x="7760472" y="130377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8" name="Oval 847"/>
              <p:cNvSpPr/>
              <p:nvPr/>
            </p:nvSpPr>
            <p:spPr>
              <a:xfrm rot="21443396">
                <a:off x="7780491" y="138850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9" name="Oval 848"/>
              <p:cNvSpPr/>
              <p:nvPr/>
            </p:nvSpPr>
            <p:spPr>
              <a:xfrm rot="21443396">
                <a:off x="7768107" y="147128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0" name="Oval 849"/>
              <p:cNvSpPr/>
              <p:nvPr/>
            </p:nvSpPr>
            <p:spPr>
              <a:xfrm rot="21443396">
                <a:off x="7873448" y="146362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1" name="Oval 850"/>
              <p:cNvSpPr/>
              <p:nvPr/>
            </p:nvSpPr>
            <p:spPr>
              <a:xfrm rot="21443396">
                <a:off x="7803056" y="142572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2" name="Oval 851"/>
              <p:cNvSpPr/>
              <p:nvPr/>
            </p:nvSpPr>
            <p:spPr>
              <a:xfrm rot="21443396">
                <a:off x="7914745" y="138010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3" name="Oval 852"/>
              <p:cNvSpPr/>
              <p:nvPr/>
            </p:nvSpPr>
            <p:spPr>
              <a:xfrm rot="21443396">
                <a:off x="7982584" y="143581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4" name="Oval 853"/>
              <p:cNvSpPr/>
              <p:nvPr/>
            </p:nvSpPr>
            <p:spPr>
              <a:xfrm rot="21443396">
                <a:off x="8020317" y="136272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5" name="Oval 854"/>
              <p:cNvSpPr/>
              <p:nvPr/>
            </p:nvSpPr>
            <p:spPr>
              <a:xfrm rot="21443396">
                <a:off x="7838229" y="134076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6" name="Oval 855"/>
              <p:cNvSpPr/>
              <p:nvPr/>
            </p:nvSpPr>
            <p:spPr>
              <a:xfrm rot="21443396">
                <a:off x="7750406" y="134876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7" name="Oval 856"/>
              <p:cNvSpPr/>
              <p:nvPr/>
            </p:nvSpPr>
            <p:spPr>
              <a:xfrm rot="21443396">
                <a:off x="7900728" y="144183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8" name="Oval 857"/>
              <p:cNvSpPr/>
              <p:nvPr/>
            </p:nvSpPr>
            <p:spPr>
              <a:xfrm rot="21443396">
                <a:off x="8006069" y="143417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9" name="Oval 858"/>
              <p:cNvSpPr/>
              <p:nvPr/>
            </p:nvSpPr>
            <p:spPr>
              <a:xfrm rot="21443396">
                <a:off x="7935677" y="139627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0" name="Oval 859"/>
              <p:cNvSpPr/>
              <p:nvPr/>
            </p:nvSpPr>
            <p:spPr>
              <a:xfrm rot="21443396">
                <a:off x="8047365" y="135064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1" name="Oval 860"/>
              <p:cNvSpPr/>
              <p:nvPr/>
            </p:nvSpPr>
            <p:spPr>
              <a:xfrm rot="21443396">
                <a:off x="8115205" y="140636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2" name="Oval 861"/>
              <p:cNvSpPr/>
              <p:nvPr/>
            </p:nvSpPr>
            <p:spPr>
              <a:xfrm rot="21443396">
                <a:off x="8152938" y="133327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3" name="Oval 862"/>
              <p:cNvSpPr/>
              <p:nvPr/>
            </p:nvSpPr>
            <p:spPr>
              <a:xfrm rot="21443396">
                <a:off x="7970850" y="131131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4" name="Oval 863"/>
              <p:cNvSpPr/>
              <p:nvPr/>
            </p:nvSpPr>
            <p:spPr>
              <a:xfrm rot="21443396">
                <a:off x="7883027" y="131931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5" name="Oval 864"/>
              <p:cNvSpPr/>
              <p:nvPr/>
            </p:nvSpPr>
            <p:spPr>
              <a:xfrm rot="21443396">
                <a:off x="6688246" y="134017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6" name="Oval 865"/>
              <p:cNvSpPr/>
              <p:nvPr/>
            </p:nvSpPr>
            <p:spPr>
              <a:xfrm rot="21443396">
                <a:off x="6675863" y="142295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7" name="Oval 866"/>
              <p:cNvSpPr/>
              <p:nvPr/>
            </p:nvSpPr>
            <p:spPr>
              <a:xfrm rot="21443396">
                <a:off x="6781204" y="141529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8" name="Oval 867"/>
              <p:cNvSpPr/>
              <p:nvPr/>
            </p:nvSpPr>
            <p:spPr>
              <a:xfrm rot="21443396">
                <a:off x="6710812" y="1377395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9" name="Oval 868"/>
              <p:cNvSpPr/>
              <p:nvPr/>
            </p:nvSpPr>
            <p:spPr>
              <a:xfrm rot="21443396">
                <a:off x="6822500" y="133176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0" name="Oval 869"/>
              <p:cNvSpPr/>
              <p:nvPr/>
            </p:nvSpPr>
            <p:spPr>
              <a:xfrm rot="21443396">
                <a:off x="6890340" y="138748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1" name="Oval 870"/>
              <p:cNvSpPr/>
              <p:nvPr/>
            </p:nvSpPr>
            <p:spPr>
              <a:xfrm rot="21443396">
                <a:off x="6928073" y="131439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2" name="Oval 871"/>
              <p:cNvSpPr/>
              <p:nvPr/>
            </p:nvSpPr>
            <p:spPr>
              <a:xfrm rot="21443396">
                <a:off x="6745985" y="129243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3" name="Oval 872"/>
              <p:cNvSpPr/>
              <p:nvPr/>
            </p:nvSpPr>
            <p:spPr>
              <a:xfrm rot="21443396">
                <a:off x="6658162" y="1300433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4" name="Oval 873"/>
              <p:cNvSpPr/>
              <p:nvPr/>
            </p:nvSpPr>
            <p:spPr>
              <a:xfrm rot="21443396">
                <a:off x="6808483" y="139349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5" name="Oval 874"/>
              <p:cNvSpPr/>
              <p:nvPr/>
            </p:nvSpPr>
            <p:spPr>
              <a:xfrm rot="21443396">
                <a:off x="6913825" y="138584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6" name="Oval 875"/>
              <p:cNvSpPr/>
              <p:nvPr/>
            </p:nvSpPr>
            <p:spPr>
              <a:xfrm rot="21443396">
                <a:off x="6843432" y="134794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7" name="Oval 876"/>
              <p:cNvSpPr/>
              <p:nvPr/>
            </p:nvSpPr>
            <p:spPr>
              <a:xfrm rot="21443396">
                <a:off x="6955121" y="130231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8" name="Oval 877"/>
              <p:cNvSpPr/>
              <p:nvPr/>
            </p:nvSpPr>
            <p:spPr>
              <a:xfrm rot="21443396">
                <a:off x="7022960" y="135802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9" name="Oval 878"/>
              <p:cNvSpPr/>
              <p:nvPr/>
            </p:nvSpPr>
            <p:spPr>
              <a:xfrm rot="21443396">
                <a:off x="7060693" y="128493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0" name="Oval 879"/>
              <p:cNvSpPr/>
              <p:nvPr/>
            </p:nvSpPr>
            <p:spPr>
              <a:xfrm rot="21443396">
                <a:off x="6878605" y="126297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1" name="Oval 880"/>
              <p:cNvSpPr/>
              <p:nvPr/>
            </p:nvSpPr>
            <p:spPr>
              <a:xfrm rot="21443396">
                <a:off x="6790782" y="1270978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2" name="Oval 881"/>
              <p:cNvSpPr/>
              <p:nvPr/>
            </p:nvSpPr>
            <p:spPr>
              <a:xfrm rot="21443396">
                <a:off x="6810801" y="1355710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3" name="Oval 882"/>
              <p:cNvSpPr/>
              <p:nvPr/>
            </p:nvSpPr>
            <p:spPr>
              <a:xfrm rot="21443396">
                <a:off x="6798418" y="143849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4" name="Oval 883"/>
              <p:cNvSpPr/>
              <p:nvPr/>
            </p:nvSpPr>
            <p:spPr>
              <a:xfrm rot="21443396">
                <a:off x="6903759" y="143083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5" name="Oval 884"/>
              <p:cNvSpPr/>
              <p:nvPr/>
            </p:nvSpPr>
            <p:spPr>
              <a:xfrm rot="21443396">
                <a:off x="6833366" y="1392934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6" name="Oval 885"/>
              <p:cNvSpPr/>
              <p:nvPr/>
            </p:nvSpPr>
            <p:spPr>
              <a:xfrm rot="21443396">
                <a:off x="6945055" y="134730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7" name="Oval 886"/>
              <p:cNvSpPr/>
              <p:nvPr/>
            </p:nvSpPr>
            <p:spPr>
              <a:xfrm rot="21443396">
                <a:off x="7012895" y="140302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8" name="Oval 887"/>
              <p:cNvSpPr/>
              <p:nvPr/>
            </p:nvSpPr>
            <p:spPr>
              <a:xfrm rot="21443396">
                <a:off x="7050628" y="132993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9" name="Oval 888"/>
              <p:cNvSpPr/>
              <p:nvPr/>
            </p:nvSpPr>
            <p:spPr>
              <a:xfrm rot="21443396">
                <a:off x="6868539" y="130797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0" name="Oval 889"/>
              <p:cNvSpPr/>
              <p:nvPr/>
            </p:nvSpPr>
            <p:spPr>
              <a:xfrm rot="21443396">
                <a:off x="6780717" y="1315972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1" name="Oval 890"/>
              <p:cNvSpPr/>
              <p:nvPr/>
            </p:nvSpPr>
            <p:spPr>
              <a:xfrm rot="21443396">
                <a:off x="6931038" y="140903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2" name="Oval 891"/>
              <p:cNvSpPr/>
              <p:nvPr/>
            </p:nvSpPr>
            <p:spPr>
              <a:xfrm rot="21443396">
                <a:off x="7036380" y="140137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3" name="Oval 892"/>
              <p:cNvSpPr/>
              <p:nvPr/>
            </p:nvSpPr>
            <p:spPr>
              <a:xfrm rot="21443396">
                <a:off x="6965987" y="1363479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4" name="Oval 893"/>
              <p:cNvSpPr/>
              <p:nvPr/>
            </p:nvSpPr>
            <p:spPr>
              <a:xfrm rot="21443396">
                <a:off x="7077676" y="1317851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5" name="Oval 894"/>
              <p:cNvSpPr/>
              <p:nvPr/>
            </p:nvSpPr>
            <p:spPr>
              <a:xfrm rot="21443396">
                <a:off x="7145515" y="1373566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6" name="Oval 895"/>
              <p:cNvSpPr/>
              <p:nvPr/>
            </p:nvSpPr>
            <p:spPr>
              <a:xfrm rot="21443396">
                <a:off x="7183248" y="130047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7" name="Oval 896"/>
              <p:cNvSpPr/>
              <p:nvPr/>
            </p:nvSpPr>
            <p:spPr>
              <a:xfrm rot="21443396">
                <a:off x="7001160" y="127851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8" name="Oval 897"/>
              <p:cNvSpPr/>
              <p:nvPr/>
            </p:nvSpPr>
            <p:spPr>
              <a:xfrm rot="21443396">
                <a:off x="6913337" y="1286517"/>
                <a:ext cx="85841" cy="7280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353" name="Straight Connector 352"/>
          <p:cNvCxnSpPr/>
          <p:nvPr/>
        </p:nvCxnSpPr>
        <p:spPr>
          <a:xfrm rot="5400000">
            <a:off x="-814179" y="3769744"/>
            <a:ext cx="38991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/>
          <p:cNvCxnSpPr/>
          <p:nvPr/>
        </p:nvCxnSpPr>
        <p:spPr>
          <a:xfrm rot="5400000">
            <a:off x="-814179" y="3769744"/>
            <a:ext cx="389913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637"/>
          <p:cNvGrpSpPr/>
          <p:nvPr/>
        </p:nvGrpSpPr>
        <p:grpSpPr>
          <a:xfrm>
            <a:off x="4504058" y="3061541"/>
            <a:ext cx="880782" cy="1398494"/>
            <a:chOff x="4241310" y="3061541"/>
            <a:chExt cx="880782" cy="1398494"/>
          </a:xfrm>
        </p:grpSpPr>
        <p:sp>
          <p:nvSpPr>
            <p:cNvPr id="914" name="Oval 9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rot="16200000">
              <a:off x="3984818" y="3352892"/>
              <a:ext cx="1398494" cy="815791"/>
            </a:xfrm>
            <a:prstGeom prst="homePlat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  <a:alpha val="0"/>
                  </a:srgbClr>
                </a:gs>
                <a:gs pos="50000">
                  <a:srgbClr val="C00000">
                    <a:shade val="67500"/>
                    <a:satMod val="115000"/>
                    <a:alpha val="50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marL="0" marR="0" lvl="0" indent="0" algn="ctr" defTabSz="57467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915" name="Rectangle 914"/>
            <p:cNvSpPr/>
            <p:nvPr/>
          </p:nvSpPr>
          <p:spPr>
            <a:xfrm>
              <a:off x="4241310" y="3406844"/>
              <a:ext cx="880782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574675"/>
              <a:r>
                <a:rPr lang="en-US" sz="20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7x </a:t>
              </a:r>
              <a:r>
                <a:rPr lang="en-US" sz="11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rowth</a:t>
              </a:r>
              <a:r>
                <a:rPr lang="en-US" sz="9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en-US" sz="9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en-US" sz="9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008-2020</a:t>
              </a:r>
              <a:endParaRPr lang="en-US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6" name="Group 918"/>
          <p:cNvGrpSpPr/>
          <p:nvPr/>
        </p:nvGrpSpPr>
        <p:grpSpPr>
          <a:xfrm>
            <a:off x="5356970" y="1846066"/>
            <a:ext cx="2396833" cy="3379984"/>
            <a:chOff x="5356970" y="1846066"/>
            <a:chExt cx="2396833" cy="3379984"/>
          </a:xfrm>
        </p:grpSpPr>
        <p:grpSp>
          <p:nvGrpSpPr>
            <p:cNvPr id="17" name="Group 628"/>
            <p:cNvGrpSpPr/>
            <p:nvPr/>
          </p:nvGrpSpPr>
          <p:grpSpPr>
            <a:xfrm>
              <a:off x="5356970" y="1955747"/>
              <a:ext cx="171450" cy="3270303"/>
              <a:chOff x="5710653" y="1955747"/>
              <a:chExt cx="171450" cy="327030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922" name="Line 92"/>
              <p:cNvSpPr>
                <a:spLocks noChangeShapeType="1"/>
              </p:cNvSpPr>
              <p:nvPr>
                <p:custDataLst>
                  <p:tags r:id="rId9"/>
                </p:custDataLst>
              </p:nvPr>
            </p:nvSpPr>
            <p:spPr bwMode="invGray">
              <a:xfrm flipH="1">
                <a:off x="5793202" y="1964267"/>
                <a:ext cx="0" cy="3255433"/>
              </a:xfrm>
              <a:prstGeom prst="line">
                <a:avLst/>
              </a:prstGeom>
              <a:noFill/>
              <a:ln w="19050">
                <a:gradFill flip="none" rotWithShape="1">
                  <a:gsLst>
                    <a:gs pos="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16200000" scaled="1"/>
                  <a:tileRect/>
                </a:gradFill>
                <a:round/>
                <a:headEnd/>
                <a:tailEnd/>
              </a:ln>
            </p:spPr>
            <p:txBody>
              <a:bodyPr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3" name="Line 95"/>
              <p:cNvSpPr>
                <a:spLocks noChangeShapeType="1"/>
              </p:cNvSpPr>
              <p:nvPr>
                <p:custDataLst>
                  <p:tags r:id="rId10"/>
                </p:custDataLst>
              </p:nvPr>
            </p:nvSpPr>
            <p:spPr bwMode="invGray">
              <a:xfrm>
                <a:off x="5710653" y="1955747"/>
                <a:ext cx="171450" cy="0"/>
              </a:xfrm>
              <a:prstGeom prst="line">
                <a:avLst/>
              </a:prstGeom>
              <a:noFill/>
              <a:ln w="19050">
                <a:gradFill flip="none" rotWithShape="1">
                  <a:gsLst>
                    <a:gs pos="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16200000" scaled="1"/>
                  <a:tileRect/>
                </a:gradFill>
                <a:round/>
                <a:headEnd/>
                <a:tailEnd/>
              </a:ln>
            </p:spPr>
            <p:txBody>
              <a:bodyPr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4" name="Line 97"/>
              <p:cNvSpPr>
                <a:spLocks noChangeShapeType="1"/>
              </p:cNvSpPr>
              <p:nvPr>
                <p:custDataLst>
                  <p:tags r:id="rId11"/>
                </p:custDataLst>
              </p:nvPr>
            </p:nvSpPr>
            <p:spPr bwMode="invGray">
              <a:xfrm>
                <a:off x="5710653" y="5226050"/>
                <a:ext cx="171450" cy="0"/>
              </a:xfrm>
              <a:prstGeom prst="line">
                <a:avLst/>
              </a:prstGeom>
              <a:noFill/>
              <a:ln w="19050">
                <a:gradFill flip="none" rotWithShape="1">
                  <a:gsLst>
                    <a:gs pos="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16200000" scaled="1"/>
                  <a:tileRect/>
                </a:gradFill>
                <a:round/>
                <a:headEnd/>
                <a:tailEnd/>
              </a:ln>
            </p:spPr>
            <p:txBody>
              <a:bodyPr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21" name="Text Box 10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blackWhite">
            <a:xfrm rot="21480000">
              <a:off x="6058353" y="1846066"/>
              <a:ext cx="1695450" cy="2492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 eaLnBrk="0" hangingPunct="0"/>
              <a:r>
                <a:rPr lang="en-US" sz="1400" b="1" dirty="0" smtClean="0">
                  <a:gradFill flip="none" rotWithShape="1">
                    <a:gsLst>
                      <a:gs pos="0">
                        <a:schemeClr val="accent6">
                          <a:lumMod val="40000"/>
                          <a:lumOff val="60000"/>
                        </a:schemeClr>
                      </a:gs>
                      <a:gs pos="100000">
                        <a:srgbClr val="FFFFFF"/>
                      </a:gs>
                    </a:gsLst>
                    <a:lin ang="16200000" scaled="0"/>
                    <a:tileRect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Forecast Model</a:t>
              </a:r>
              <a:endParaRPr lang="en-US" sz="1400" b="1" dirty="0">
                <a:gradFill flip="none" rotWithShape="1">
                  <a:gsLst>
                    <a:gs pos="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rgbClr val="FFFFFF"/>
                    </a:gs>
                  </a:gsLst>
                  <a:lin ang="16200000" scaled="0"/>
                  <a:tileRect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8" name="Group 377"/>
          <p:cNvGrpSpPr/>
          <p:nvPr/>
        </p:nvGrpSpPr>
        <p:grpSpPr>
          <a:xfrm>
            <a:off x="412314" y="1734538"/>
            <a:ext cx="8116667" cy="4503832"/>
            <a:chOff x="412314" y="1734538"/>
            <a:chExt cx="8116667" cy="4503832"/>
          </a:xfrm>
        </p:grpSpPr>
        <p:sp>
          <p:nvSpPr>
            <p:cNvPr id="355" name="TextBox 354"/>
            <p:cNvSpPr txBox="1"/>
            <p:nvPr/>
          </p:nvSpPr>
          <p:spPr>
            <a:xfrm>
              <a:off x="412314" y="1734538"/>
              <a:ext cx="717351" cy="36625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240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212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185,5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159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132,5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106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79,5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53,000</a:t>
              </a:r>
            </a:p>
            <a:p>
              <a:pPr algn="r">
                <a:spcAft>
                  <a:spcPts val="2400"/>
                </a:spcAft>
              </a:pPr>
              <a:r>
                <a:rPr lang="en-US" sz="800" b="1" dirty="0" smtClean="0">
                  <a:solidFill>
                    <a:schemeClr val="accent6"/>
                  </a:solidFill>
                </a:rPr>
                <a:t>26,500</a:t>
              </a:r>
            </a:p>
          </p:txBody>
        </p:sp>
        <p:sp>
          <p:nvSpPr>
            <p:cNvPr id="366" name="TextBox 365"/>
            <p:cNvSpPr txBox="1"/>
            <p:nvPr/>
          </p:nvSpPr>
          <p:spPr>
            <a:xfrm>
              <a:off x="891395" y="5762950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dirty="0" smtClean="0"/>
                <a:t>1990</a:t>
              </a:r>
            </a:p>
          </p:txBody>
        </p:sp>
        <p:sp>
          <p:nvSpPr>
            <p:cNvPr id="367" name="TextBox 366"/>
            <p:cNvSpPr txBox="1"/>
            <p:nvPr/>
          </p:nvSpPr>
          <p:spPr>
            <a:xfrm>
              <a:off x="8072125" y="6022926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dirty="0" smtClean="0"/>
                <a:t>2020</a:t>
              </a:r>
            </a:p>
          </p:txBody>
        </p:sp>
        <p:sp>
          <p:nvSpPr>
            <p:cNvPr id="368" name="TextBox 367"/>
            <p:cNvSpPr txBox="1"/>
            <p:nvPr/>
          </p:nvSpPr>
          <p:spPr>
            <a:xfrm>
              <a:off x="7354052" y="5996932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smtClean="0"/>
                <a:t>2017</a:t>
              </a:r>
              <a:endParaRPr lang="en-US" sz="800" b="1" dirty="0" smtClean="0"/>
            </a:p>
          </p:txBody>
        </p:sp>
        <p:sp>
          <p:nvSpPr>
            <p:cNvPr id="370" name="TextBox 369"/>
            <p:cNvSpPr txBox="1"/>
            <p:nvPr/>
          </p:nvSpPr>
          <p:spPr>
            <a:xfrm>
              <a:off x="6635979" y="5970934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smtClean="0"/>
                <a:t>2014</a:t>
              </a:r>
              <a:endParaRPr lang="en-US" sz="800" b="1" dirty="0" smtClean="0"/>
            </a:p>
          </p:txBody>
        </p:sp>
        <p:sp>
          <p:nvSpPr>
            <p:cNvPr id="371" name="TextBox 370"/>
            <p:cNvSpPr txBox="1"/>
            <p:nvPr/>
          </p:nvSpPr>
          <p:spPr>
            <a:xfrm>
              <a:off x="5917906" y="5944936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smtClean="0"/>
                <a:t>2011</a:t>
              </a:r>
              <a:endParaRPr lang="en-US" sz="800" b="1" dirty="0" smtClean="0"/>
            </a:p>
          </p:txBody>
        </p:sp>
        <p:sp>
          <p:nvSpPr>
            <p:cNvPr id="372" name="TextBox 371"/>
            <p:cNvSpPr txBox="1"/>
            <p:nvPr/>
          </p:nvSpPr>
          <p:spPr>
            <a:xfrm>
              <a:off x="5190105" y="5918938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dirty="0" smtClean="0"/>
                <a:t>2008</a:t>
              </a:r>
            </a:p>
          </p:txBody>
        </p:sp>
        <p:sp>
          <p:nvSpPr>
            <p:cNvPr id="373" name="TextBox 372"/>
            <p:cNvSpPr txBox="1"/>
            <p:nvPr/>
          </p:nvSpPr>
          <p:spPr>
            <a:xfrm>
              <a:off x="4481760" y="5892940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smtClean="0"/>
                <a:t>2005</a:t>
              </a:r>
              <a:endParaRPr lang="en-US" sz="800" b="1" dirty="0" smtClean="0"/>
            </a:p>
          </p:txBody>
        </p:sp>
        <p:sp>
          <p:nvSpPr>
            <p:cNvPr id="374" name="TextBox 373"/>
            <p:cNvSpPr txBox="1"/>
            <p:nvPr/>
          </p:nvSpPr>
          <p:spPr>
            <a:xfrm>
              <a:off x="3763687" y="5866942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smtClean="0"/>
                <a:t>2002</a:t>
              </a:r>
              <a:endParaRPr lang="en-US" sz="800" b="1" dirty="0" smtClean="0"/>
            </a:p>
          </p:txBody>
        </p:sp>
        <p:sp>
          <p:nvSpPr>
            <p:cNvPr id="375" name="TextBox 374"/>
            <p:cNvSpPr txBox="1"/>
            <p:nvPr/>
          </p:nvSpPr>
          <p:spPr>
            <a:xfrm>
              <a:off x="3045614" y="5840944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smtClean="0"/>
                <a:t>1999</a:t>
              </a:r>
              <a:endParaRPr lang="en-US" sz="800" b="1" dirty="0" smtClean="0"/>
            </a:p>
          </p:txBody>
        </p:sp>
        <p:sp>
          <p:nvSpPr>
            <p:cNvPr id="376" name="TextBox 375"/>
            <p:cNvSpPr txBox="1"/>
            <p:nvPr/>
          </p:nvSpPr>
          <p:spPr>
            <a:xfrm>
              <a:off x="2327541" y="5814946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smtClean="0"/>
                <a:t>1996</a:t>
              </a:r>
              <a:endParaRPr lang="en-US" sz="800" b="1" dirty="0" smtClean="0"/>
            </a:p>
          </p:txBody>
        </p:sp>
        <p:sp>
          <p:nvSpPr>
            <p:cNvPr id="377" name="TextBox 376"/>
            <p:cNvSpPr txBox="1"/>
            <p:nvPr/>
          </p:nvSpPr>
          <p:spPr>
            <a:xfrm>
              <a:off x="1609468" y="5788948"/>
              <a:ext cx="456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1600"/>
                </a:spcAft>
              </a:pPr>
              <a:r>
                <a:rPr lang="en-US" sz="800" b="1" smtClean="0"/>
                <a:t>1993</a:t>
              </a:r>
              <a:endParaRPr lang="en-US" sz="800" b="1" dirty="0" smtClean="0"/>
            </a:p>
          </p:txBody>
        </p:sp>
      </p:grpSp>
      <p:sp>
        <p:nvSpPr>
          <p:cNvPr id="379" name="Rectangle 378"/>
          <p:cNvSpPr/>
          <p:nvPr/>
        </p:nvSpPr>
        <p:spPr>
          <a:xfrm>
            <a:off x="7623620" y="1624522"/>
            <a:ext cx="1391055" cy="43774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bg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bg2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effectLst>
                  <a:outerShdw blurRad="127000" algn="ctr" rotWithShape="0">
                    <a:schemeClr val="bg2">
                      <a:lumMod val="50000"/>
                      <a:alpha val="40000"/>
                    </a:schemeClr>
                  </a:outerShdw>
                </a:effectLst>
              </a:rPr>
              <a:t>Plus Machine to Machine?</a:t>
            </a:r>
            <a:endParaRPr lang="en-US" sz="1200" b="1" dirty="0">
              <a:solidFill>
                <a:schemeClr val="tx1"/>
              </a:solidFill>
              <a:effectLst>
                <a:outerShdw blurRad="127000" algn="ctr" rotWithShape="0">
                  <a:schemeClr val="bg2">
                    <a:lumMod val="50000"/>
                    <a:alpha val="40000"/>
                  </a:schemeClr>
                </a:outerShdw>
              </a:effectLst>
            </a:endParaRPr>
          </a:p>
        </p:txBody>
      </p:sp>
      <p:sp>
        <p:nvSpPr>
          <p:cNvPr id="378" name="Rectangle 377"/>
          <p:cNvSpPr/>
          <p:nvPr/>
        </p:nvSpPr>
        <p:spPr>
          <a:xfrm>
            <a:off x="455340" y="6040078"/>
            <a:ext cx="350520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 b="1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Source</a:t>
            </a:r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: Juniper, Cisco, MI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686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98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8" dur="1000"/>
                                        <p:tgtEl>
                                          <p:spTgt spid="686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8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98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76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276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000"/>
                            </p:stCondLst>
                            <p:childTnLst>
                              <p:par>
                                <p:cTn id="5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2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2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20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967563"/>
            <a:ext cx="9144000" cy="5263115"/>
          </a:xfrm>
          <a:prstGeom prst="rect">
            <a:avLst/>
          </a:prstGeom>
          <a:gradFill flip="none" rotWithShape="1">
            <a:gsLst>
              <a:gs pos="0">
                <a:srgbClr val="20252C"/>
              </a:gs>
              <a:gs pos="100000">
                <a:srgbClr val="37404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1034" name="Rectangle 10"/>
          <p:cNvSpPr>
            <a:spLocks noGrp="1" noChangeArrowheads="1"/>
          </p:cNvSpPr>
          <p:nvPr>
            <p:ph type="title"/>
          </p:nvPr>
        </p:nvSpPr>
        <p:spPr>
          <a:xfrm>
            <a:off x="475488" y="256032"/>
            <a:ext cx="8220456" cy="740664"/>
          </a:xfrm>
        </p:spPr>
        <p:txBody>
          <a:bodyPr/>
          <a:lstStyle/>
          <a:p>
            <a:r>
              <a:rPr lang="en-US" dirty="0" smtClean="0"/>
              <a:t>At </a:t>
            </a:r>
            <a:r>
              <a:rPr dirty="0"/>
              <a:t>Current Pace </a:t>
            </a:r>
            <a:r>
              <a:rPr dirty="0" smtClean="0"/>
              <a:t>Of Innovation </a:t>
            </a:r>
            <a:br>
              <a:rPr dirty="0" smtClean="0"/>
            </a:br>
            <a:r>
              <a:rPr dirty="0" smtClean="0"/>
              <a:t>network investment Outpaces Revenue</a:t>
            </a:r>
            <a:endParaRPr lang="en-US" dirty="0"/>
          </a:p>
        </p:txBody>
      </p:sp>
      <p:graphicFrame>
        <p:nvGraphicFramePr>
          <p:cNvPr id="39" name="Object 3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391880" y="1347705"/>
          <a:ext cx="8188325" cy="4132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89" name="Freeform 88"/>
          <p:cNvSpPr/>
          <p:nvPr/>
        </p:nvSpPr>
        <p:spPr>
          <a:xfrm>
            <a:off x="3503364" y="1663547"/>
            <a:ext cx="4483865" cy="3238959"/>
          </a:xfrm>
          <a:custGeom>
            <a:avLst/>
            <a:gdLst>
              <a:gd name="connsiteX0" fmla="*/ 0 w 4472848"/>
              <a:gd name="connsiteY0" fmla="*/ 0 h 3095740"/>
              <a:gd name="connsiteX1" fmla="*/ 4472848 w 4472848"/>
              <a:gd name="connsiteY1" fmla="*/ 0 h 3095740"/>
              <a:gd name="connsiteX2" fmla="*/ 4472848 w 4472848"/>
              <a:gd name="connsiteY2" fmla="*/ 3095740 h 3095740"/>
              <a:gd name="connsiteX3" fmla="*/ 0 w 4472848"/>
              <a:gd name="connsiteY3" fmla="*/ 3095740 h 3095740"/>
              <a:gd name="connsiteX4" fmla="*/ 0 w 4472848"/>
              <a:gd name="connsiteY4" fmla="*/ 0 h 3095740"/>
              <a:gd name="connsiteX0" fmla="*/ 0 w 4483865"/>
              <a:gd name="connsiteY0" fmla="*/ 0 h 3238959"/>
              <a:gd name="connsiteX1" fmla="*/ 4472848 w 4483865"/>
              <a:gd name="connsiteY1" fmla="*/ 0 h 3238959"/>
              <a:gd name="connsiteX2" fmla="*/ 4483865 w 4483865"/>
              <a:gd name="connsiteY2" fmla="*/ 3238959 h 3238959"/>
              <a:gd name="connsiteX3" fmla="*/ 0 w 4483865"/>
              <a:gd name="connsiteY3" fmla="*/ 3095740 h 3238959"/>
              <a:gd name="connsiteX4" fmla="*/ 0 w 4483865"/>
              <a:gd name="connsiteY4" fmla="*/ 0 h 3238959"/>
              <a:gd name="connsiteX0" fmla="*/ 0 w 4483865"/>
              <a:gd name="connsiteY0" fmla="*/ 143219 h 3238959"/>
              <a:gd name="connsiteX1" fmla="*/ 4472848 w 4483865"/>
              <a:gd name="connsiteY1" fmla="*/ 0 h 3238959"/>
              <a:gd name="connsiteX2" fmla="*/ 4483865 w 4483865"/>
              <a:gd name="connsiteY2" fmla="*/ 3238959 h 3238959"/>
              <a:gd name="connsiteX3" fmla="*/ 0 w 4483865"/>
              <a:gd name="connsiteY3" fmla="*/ 3095740 h 3238959"/>
              <a:gd name="connsiteX4" fmla="*/ 0 w 4483865"/>
              <a:gd name="connsiteY4" fmla="*/ 143219 h 323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83865" h="3238959">
                <a:moveTo>
                  <a:pt x="0" y="143219"/>
                </a:moveTo>
                <a:lnTo>
                  <a:pt x="4472848" y="0"/>
                </a:lnTo>
                <a:cubicBezTo>
                  <a:pt x="4476520" y="1079653"/>
                  <a:pt x="4480193" y="2159306"/>
                  <a:pt x="4483865" y="3238959"/>
                </a:cubicBezTo>
                <a:lnTo>
                  <a:pt x="0" y="3095740"/>
                </a:lnTo>
                <a:lnTo>
                  <a:pt x="0" y="143219"/>
                </a:lnTo>
                <a:close/>
              </a:path>
            </a:pathLst>
          </a:custGeom>
          <a:solidFill>
            <a:srgbClr val="605F62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55340" y="6040078"/>
            <a:ext cx="350520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 b="1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Source</a:t>
            </a:r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: Juniper, Cisco, MINTS, </a:t>
            </a:r>
            <a:r>
              <a:rPr lang="en-US" sz="900" dirty="0" err="1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Infonetics</a:t>
            </a:r>
            <a:endParaRPr lang="en-US" sz="900" dirty="0" smtClean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36866" name="Picture 2" descr="\\.PSF\Host\Volumes\EP File Share\Touch\Project Juniper\Concept Art\graph_slope B 3.png"/>
          <p:cNvPicPr>
            <a:picLocks noChangeAspect="1" noChangeArrowheads="1"/>
          </p:cNvPicPr>
          <p:nvPr/>
        </p:nvPicPr>
        <p:blipFill>
          <a:blip r:embed="rId47" cstate="print"/>
          <a:stretch>
            <a:fillRect/>
          </a:stretch>
        </p:blipFill>
        <p:spPr bwMode="auto">
          <a:xfrm>
            <a:off x="1444627" y="-3522841"/>
            <a:ext cx="19778787" cy="7988057"/>
          </a:xfrm>
          <a:prstGeom prst="rect">
            <a:avLst/>
          </a:prstGeom>
          <a:noFill/>
        </p:spPr>
      </p:pic>
      <p:sp>
        <p:nvSpPr>
          <p:cNvPr id="19" name="Rectangle 18"/>
          <p:cNvSpPr/>
          <p:nvPr/>
        </p:nvSpPr>
        <p:spPr>
          <a:xfrm>
            <a:off x="7986532" y="956930"/>
            <a:ext cx="1157469" cy="5266944"/>
          </a:xfrm>
          <a:prstGeom prst="rect">
            <a:avLst/>
          </a:prstGeom>
          <a:solidFill>
            <a:srgbClr val="3740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45"/>
          <p:cNvGrpSpPr/>
          <p:nvPr/>
        </p:nvGrpSpPr>
        <p:grpSpPr>
          <a:xfrm>
            <a:off x="438671" y="1147088"/>
            <a:ext cx="7768895" cy="4080429"/>
            <a:chOff x="438671" y="1494338"/>
            <a:chExt cx="7768895" cy="4080429"/>
          </a:xfrm>
        </p:grpSpPr>
        <p:grpSp>
          <p:nvGrpSpPr>
            <p:cNvPr id="3" name="Group 25"/>
            <p:cNvGrpSpPr/>
            <p:nvPr/>
          </p:nvGrpSpPr>
          <p:grpSpPr>
            <a:xfrm>
              <a:off x="769098" y="2110595"/>
              <a:ext cx="427038" cy="2979014"/>
              <a:chOff x="769098" y="2110595"/>
              <a:chExt cx="427038" cy="2979014"/>
            </a:xfrm>
          </p:grpSpPr>
          <p:sp>
            <p:nvSpPr>
              <p:cNvPr id="28" name="Rectangle 37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769098" y="3515965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300</a:t>
                </a:r>
                <a:endParaRPr lang="en-US" sz="800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29" name="Rectangle 38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769098" y="2813280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400</a:t>
                </a:r>
                <a:endParaRPr lang="en-US" sz="800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30" name="Rectangle 39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769098" y="2110595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500</a:t>
                </a:r>
                <a:endParaRPr lang="en-US" sz="800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31" name="Rectangle 14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884986" y="4921334"/>
                <a:ext cx="311150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100</a:t>
                </a:r>
                <a:endParaRPr lang="en-US" sz="800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32" name="Rectangle 21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769098" y="4218650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200</a:t>
                </a:r>
                <a:endParaRPr lang="en-US" sz="800" b="1" dirty="0">
                  <a:solidFill>
                    <a:schemeClr val="accent6"/>
                  </a:solidFill>
                </a:endParaRPr>
              </a:p>
            </p:txBody>
          </p:sp>
        </p:grpSp>
        <p:sp>
          <p:nvSpPr>
            <p:cNvPr id="33" name="Text Box 5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 bwMode="blackWhite">
            <a:xfrm>
              <a:off x="438671" y="1494338"/>
              <a:ext cx="7768895" cy="4723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0" hangingPunct="0"/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Worldwide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service provider </a:t>
              </a:r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revenue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vs. investments with </a:t>
              </a:r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innovation,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2003-2009  </a:t>
              </a:r>
              <a:r>
                <a:rPr lang="en-US" sz="1200" dirty="0" smtClean="0">
                  <a:solidFill>
                    <a:srgbClr val="807F83"/>
                  </a:solidFill>
                  <a:ea typeface="ＭＳ Ｐゴシック" pitchFamily="34" charset="-128"/>
                </a:rPr>
                <a:t>$ </a:t>
              </a:r>
              <a:r>
                <a:rPr lang="en-US" sz="1200" dirty="0">
                  <a:solidFill>
                    <a:srgbClr val="807F83"/>
                  </a:solidFill>
                  <a:ea typeface="ＭＳ Ｐゴシック" pitchFamily="34" charset="-128"/>
                </a:rPr>
                <a:t>in USD Billion</a:t>
              </a:r>
            </a:p>
          </p:txBody>
        </p:sp>
        <p:grpSp>
          <p:nvGrpSpPr>
            <p:cNvPr id="4" name="Group 44"/>
            <p:cNvGrpSpPr/>
            <p:nvPr/>
          </p:nvGrpSpPr>
          <p:grpSpPr>
            <a:xfrm>
              <a:off x="1025668" y="5184648"/>
              <a:ext cx="6737157" cy="390119"/>
              <a:chOff x="1025668" y="5184648"/>
              <a:chExt cx="6737157" cy="390119"/>
            </a:xfrm>
          </p:grpSpPr>
          <p:sp>
            <p:nvSpPr>
              <p:cNvPr id="35" name="Rectangle 37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025668" y="5184648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3</a:t>
                </a:r>
                <a:endParaRPr lang="en-US" sz="800" b="1" dirty="0"/>
              </a:p>
            </p:txBody>
          </p:sp>
          <p:sp>
            <p:nvSpPr>
              <p:cNvPr id="36" name="Rectangle 37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2077355" y="5221622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4</a:t>
                </a:r>
                <a:endParaRPr lang="en-US" sz="800" b="1" dirty="0"/>
              </a:p>
            </p:txBody>
          </p:sp>
          <p:sp>
            <p:nvSpPr>
              <p:cNvPr id="37" name="Rectangle 37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3129042" y="5258596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5</a:t>
                </a:r>
                <a:endParaRPr lang="en-US" sz="800" b="1" dirty="0"/>
              </a:p>
            </p:txBody>
          </p:sp>
          <p:sp>
            <p:nvSpPr>
              <p:cNvPr id="38" name="Rectangle 37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180729" y="5295570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6</a:t>
                </a:r>
                <a:endParaRPr lang="en-US" sz="800" b="1" dirty="0"/>
              </a:p>
            </p:txBody>
          </p:sp>
          <p:sp>
            <p:nvSpPr>
              <p:cNvPr id="40" name="Rectangle 37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232416" y="5332544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7</a:t>
                </a:r>
                <a:endParaRPr lang="en-US" sz="800" b="1" dirty="0"/>
              </a:p>
            </p:txBody>
          </p:sp>
          <p:sp>
            <p:nvSpPr>
              <p:cNvPr id="41" name="Rectangle 37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6284103" y="5369518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8</a:t>
                </a:r>
                <a:endParaRPr lang="en-US" sz="800" b="1" dirty="0"/>
              </a:p>
            </p:txBody>
          </p:sp>
          <p:sp>
            <p:nvSpPr>
              <p:cNvPr id="44" name="Rectangle 37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335787" y="5406492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9</a:t>
                </a:r>
                <a:endParaRPr lang="en-US" sz="800" b="1" dirty="0"/>
              </a:p>
            </p:txBody>
          </p:sp>
        </p:grpSp>
      </p:grpSp>
      <p:grpSp>
        <p:nvGrpSpPr>
          <p:cNvPr id="5" name="Group 46"/>
          <p:cNvGrpSpPr/>
          <p:nvPr/>
        </p:nvGrpSpPr>
        <p:grpSpPr>
          <a:xfrm>
            <a:off x="438671" y="1147090"/>
            <a:ext cx="7801945" cy="4701975"/>
            <a:chOff x="438671" y="1494340"/>
            <a:chExt cx="7801945" cy="4701975"/>
          </a:xfrm>
        </p:grpSpPr>
        <p:sp>
          <p:nvSpPr>
            <p:cNvPr id="48" name="Text Box 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blackWhite">
            <a:xfrm>
              <a:off x="438671" y="1494340"/>
              <a:ext cx="7801945" cy="7918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0" hangingPunct="0"/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Worldwide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service provider </a:t>
              </a:r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revenue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vs. investments with </a:t>
              </a:r>
              <a:r>
                <a:rPr lang="en-US" sz="1600" b="1" dirty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innovation, </a:t>
              </a:r>
              <a:r>
                <a:rPr lang="en-US" sz="16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</a:srgbClr>
                      </a:gs>
                    </a:gsLst>
                    <a:lin ang="16200000" scaled="0"/>
                    <a:tileRect/>
                  </a:gradFill>
                </a:rPr>
                <a:t>2003-2020  </a:t>
              </a:r>
              <a:r>
                <a:rPr lang="en-US" sz="1200" dirty="0" smtClean="0">
                  <a:solidFill>
                    <a:srgbClr val="807F83"/>
                  </a:solidFill>
                  <a:ea typeface="ＭＳ Ｐゴシック" pitchFamily="34" charset="-128"/>
                </a:rPr>
                <a:t>$ </a:t>
              </a:r>
              <a:r>
                <a:rPr lang="en-US" sz="1200" dirty="0">
                  <a:solidFill>
                    <a:srgbClr val="807F83"/>
                  </a:solidFill>
                  <a:ea typeface="ＭＳ Ｐゴシック" pitchFamily="34" charset="-128"/>
                </a:rPr>
                <a:t>in USD Billion</a:t>
              </a:r>
            </a:p>
          </p:txBody>
        </p:sp>
        <p:grpSp>
          <p:nvGrpSpPr>
            <p:cNvPr id="6" name="Group 71"/>
            <p:cNvGrpSpPr/>
            <p:nvPr/>
          </p:nvGrpSpPr>
          <p:grpSpPr>
            <a:xfrm>
              <a:off x="1025668" y="5184648"/>
              <a:ext cx="6737157" cy="390119"/>
              <a:chOff x="1025668" y="5184648"/>
              <a:chExt cx="6737157" cy="390119"/>
            </a:xfrm>
          </p:grpSpPr>
          <p:sp>
            <p:nvSpPr>
              <p:cNvPr id="74" name="Rectangle 37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025668" y="5184648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3</a:t>
                </a:r>
                <a:endParaRPr lang="en-US" sz="800" b="1" dirty="0"/>
              </a:p>
            </p:txBody>
          </p:sp>
          <p:sp>
            <p:nvSpPr>
              <p:cNvPr id="75" name="Rectangle 37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722077" y="5209728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5</a:t>
                </a:r>
                <a:endParaRPr lang="en-US" sz="800" b="1" dirty="0"/>
              </a:p>
            </p:txBody>
          </p:sp>
          <p:sp>
            <p:nvSpPr>
              <p:cNvPr id="76" name="Rectangle 37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2441636" y="5234801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7</a:t>
                </a:r>
                <a:endParaRPr lang="en-US" sz="800" b="1" dirty="0"/>
              </a:p>
            </p:txBody>
          </p:sp>
          <p:sp>
            <p:nvSpPr>
              <p:cNvPr id="77" name="Rectangle 76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195918" y="5259880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09</a:t>
                </a:r>
                <a:endParaRPr lang="en-US" sz="800" b="1" dirty="0"/>
              </a:p>
            </p:txBody>
          </p:sp>
          <p:sp>
            <p:nvSpPr>
              <p:cNvPr id="78" name="Rectangle 37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959847" y="5294604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11</a:t>
                </a:r>
                <a:endParaRPr lang="en-US" sz="800" b="1" dirty="0"/>
              </a:p>
            </p:txBody>
          </p:sp>
          <p:sp>
            <p:nvSpPr>
              <p:cNvPr id="79" name="Rectangle 37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760427" y="5308107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13</a:t>
                </a:r>
                <a:endParaRPr lang="en-US" sz="800" b="1" dirty="0"/>
              </a:p>
            </p:txBody>
          </p:sp>
          <p:sp>
            <p:nvSpPr>
              <p:cNvPr id="80" name="Rectangle 37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595731" y="5344760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15</a:t>
                </a:r>
                <a:endParaRPr lang="en-US" sz="800" b="1" dirty="0"/>
              </a:p>
            </p:txBody>
          </p:sp>
          <p:sp>
            <p:nvSpPr>
              <p:cNvPr id="81" name="Rectangle 37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6442609" y="5369839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17</a:t>
                </a:r>
                <a:endParaRPr lang="en-US" sz="800" b="1" dirty="0"/>
              </a:p>
            </p:txBody>
          </p:sp>
          <p:sp>
            <p:nvSpPr>
              <p:cNvPr id="82" name="Rectangle 37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7335787" y="5406492"/>
                <a:ext cx="427038" cy="168275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/>
                  <a:t>2019</a:t>
                </a:r>
                <a:endParaRPr lang="en-US" sz="800" b="1" dirty="0"/>
              </a:p>
            </p:txBody>
          </p:sp>
        </p:grpSp>
        <p:grpSp>
          <p:nvGrpSpPr>
            <p:cNvPr id="7" name="Group 57"/>
            <p:cNvGrpSpPr/>
            <p:nvPr/>
          </p:nvGrpSpPr>
          <p:grpSpPr>
            <a:xfrm>
              <a:off x="763950" y="2112798"/>
              <a:ext cx="451314" cy="2578424"/>
              <a:chOff x="0" y="2031773"/>
              <a:chExt cx="451314" cy="2578424"/>
            </a:xfrm>
          </p:grpSpPr>
          <p:sp>
            <p:nvSpPr>
              <p:cNvPr id="66" name="Rectangle 65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0" y="2517923"/>
                <a:ext cx="427038" cy="147676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1,250</a:t>
                </a:r>
                <a:endParaRPr lang="en-US" sz="800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67" name="Rectangle 66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0" y="2031773"/>
                <a:ext cx="427038" cy="147676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1,500</a:t>
                </a:r>
                <a:endParaRPr lang="en-US" sz="800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68" name="Rectangle 45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0" y="3004073"/>
                <a:ext cx="427038" cy="147676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1,000</a:t>
                </a:r>
                <a:endParaRPr lang="en-US" sz="800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24276" y="4462521"/>
                <a:ext cx="427038" cy="147676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250</a:t>
                </a:r>
                <a:endParaRPr lang="en-US" sz="800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0" y="3976373"/>
                <a:ext cx="427038" cy="147676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500</a:t>
                </a: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0" y="3490223"/>
                <a:ext cx="427038" cy="147676"/>
              </a:xfrm>
              <a:prstGeom prst="rect">
                <a:avLst/>
              </a:prstGeom>
              <a:noFill/>
              <a:ln w="28575" algn="ctr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r" defTabSz="574675"/>
                <a:r>
                  <a:rPr lang="en-US" sz="800" b="1" dirty="0" smtClean="0">
                    <a:solidFill>
                      <a:schemeClr val="accent6"/>
                    </a:solidFill>
                  </a:rPr>
                  <a:t>$750</a:t>
                </a:r>
              </a:p>
            </p:txBody>
          </p:sp>
        </p:grpSp>
        <p:sp>
          <p:nvSpPr>
            <p:cNvPr id="52" name="Text Box 10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blackWhite">
            <a:xfrm>
              <a:off x="441787" y="5692525"/>
              <a:ext cx="4095489" cy="5037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marL="571500" indent="-571500" eaLnBrk="0" hangingPunct="0">
                <a:tabLst>
                  <a:tab pos="571500" algn="l"/>
                  <a:tab pos="742950" algn="l"/>
                </a:tabLst>
              </a:pPr>
              <a:endParaRPr lang="en-US" sz="600" dirty="0">
                <a:solidFill>
                  <a:schemeClr val="accent6"/>
                </a:solidFill>
                <a:ea typeface="ＭＳ Ｐゴシック" pitchFamily="34" charset="-128"/>
              </a:endParaRPr>
            </a:p>
          </p:txBody>
        </p:sp>
        <p:sp>
          <p:nvSpPr>
            <p:cNvPr id="53" name="Text Box 10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blackWhite">
            <a:xfrm rot="21480000">
              <a:off x="4891288" y="2098828"/>
              <a:ext cx="1695450" cy="2492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 eaLnBrk="0" hangingPunct="0"/>
              <a:r>
                <a:rPr lang="en-US" sz="1400" b="1" dirty="0" smtClean="0">
                  <a:gradFill flip="none" rotWithShape="1">
                    <a:gsLst>
                      <a:gs pos="0">
                        <a:schemeClr val="accent6">
                          <a:lumMod val="40000"/>
                          <a:lumOff val="60000"/>
                        </a:schemeClr>
                      </a:gs>
                      <a:gs pos="100000">
                        <a:srgbClr val="FFFFFF"/>
                      </a:gs>
                    </a:gsLst>
                    <a:lin ang="16200000" scaled="0"/>
                    <a:tileRect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Forecast Model</a:t>
              </a:r>
              <a:endParaRPr lang="en-US" sz="1400" b="1" dirty="0">
                <a:gradFill flip="none" rotWithShape="1">
                  <a:gsLst>
                    <a:gs pos="0">
                      <a:schemeClr val="accent6">
                        <a:lumMod val="40000"/>
                        <a:lumOff val="60000"/>
                      </a:schemeClr>
                    </a:gs>
                    <a:gs pos="100000">
                      <a:srgbClr val="FFFFFF"/>
                    </a:gs>
                  </a:gsLst>
                  <a:lin ang="16200000" scaled="0"/>
                  <a:tileRect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8" name="Group 82"/>
          <p:cNvGrpSpPr/>
          <p:nvPr/>
        </p:nvGrpSpPr>
        <p:grpSpPr>
          <a:xfrm>
            <a:off x="1582704" y="3233194"/>
            <a:ext cx="2558006" cy="636608"/>
            <a:chOff x="2670177" y="2191361"/>
            <a:chExt cx="2558006" cy="710879"/>
          </a:xfrm>
        </p:grpSpPr>
        <p:sp>
          <p:nvSpPr>
            <p:cNvPr id="84" name="Rectangular Callout 83"/>
            <p:cNvSpPr/>
            <p:nvPr/>
          </p:nvSpPr>
          <p:spPr>
            <a:xfrm>
              <a:off x="2670177" y="2191361"/>
              <a:ext cx="2558006" cy="710879"/>
            </a:xfrm>
            <a:prstGeom prst="wedgeRectCallout">
              <a:avLst>
                <a:gd name="adj1" fmla="val 32746"/>
                <a:gd name="adj2" fmla="val 120567"/>
              </a:avLst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  <a:alpha val="0"/>
                  </a:srgbClr>
                </a:gs>
                <a:gs pos="50000">
                  <a:srgbClr val="C00000">
                    <a:shade val="67500"/>
                    <a:satMod val="115000"/>
                    <a:alpha val="50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 defTabSz="574675">
                <a:lnSpc>
                  <a:spcPct val="90000"/>
                </a:lnSpc>
                <a:defRPr/>
              </a:pPr>
              <a:endParaRPr lang="en-US" sz="800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2775887" y="2272854"/>
              <a:ext cx="2417571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0" hangingPunct="0"/>
              <a:r>
                <a:rPr lang="en-US" sz="9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rPr>
                <a:t>Continued improvements driving down </a:t>
              </a:r>
              <a:r>
                <a:rPr lang="en-US" sz="900" b="1" dirty="0" err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rPr>
                <a:t>capex</a:t>
              </a:r>
              <a:r>
                <a:rPr lang="en-US" sz="9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rPr>
                <a:t> and </a:t>
              </a:r>
              <a:r>
                <a:rPr lang="en-US" sz="900" b="1" dirty="0" err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rPr>
                <a:t>opex</a:t>
              </a:r>
              <a:r>
                <a:rPr lang="en-US" sz="9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rPr>
                <a:t> at the historical rate only delay the inevitable breaking point</a:t>
              </a:r>
              <a:endParaRPr lang="en-US" sz="9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</p:grpSp>
      <p:grpSp>
        <p:nvGrpSpPr>
          <p:cNvPr id="9" name="Group 85"/>
          <p:cNvGrpSpPr/>
          <p:nvPr/>
        </p:nvGrpSpPr>
        <p:grpSpPr>
          <a:xfrm>
            <a:off x="5034981" y="2129729"/>
            <a:ext cx="1770926" cy="578737"/>
            <a:chOff x="6057985" y="2915459"/>
            <a:chExt cx="1770926" cy="613458"/>
          </a:xfrm>
        </p:grpSpPr>
        <p:sp>
          <p:nvSpPr>
            <p:cNvPr id="87" name="Rectangular Callout 86"/>
            <p:cNvSpPr/>
            <p:nvPr/>
          </p:nvSpPr>
          <p:spPr>
            <a:xfrm>
              <a:off x="6057985" y="2915459"/>
              <a:ext cx="1759351" cy="613458"/>
            </a:xfrm>
            <a:prstGeom prst="wedgeRectCallout">
              <a:avLst>
                <a:gd name="adj1" fmla="val 33081"/>
                <a:gd name="adj2" fmla="val 111881"/>
              </a:avLst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  <a:alpha val="0"/>
                  </a:srgbClr>
                </a:gs>
                <a:gs pos="50000">
                  <a:srgbClr val="C00000">
                    <a:shade val="67500"/>
                    <a:satMod val="115000"/>
                    <a:alpha val="50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 defTabSz="574675">
                <a:lnSpc>
                  <a:spcPct val="90000"/>
                </a:lnSpc>
                <a:defRPr/>
              </a:pPr>
              <a:endParaRPr lang="en-US" sz="800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8" name="Text Box 5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blackWhite">
            <a:xfrm>
              <a:off x="6212542" y="3005839"/>
              <a:ext cx="1616369" cy="517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0" hangingPunct="0"/>
              <a:r>
                <a:rPr lang="en-US" sz="9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rPr>
                <a:t>Are consumers prepared to pay $385 for broadband connectivity?</a:t>
              </a:r>
            </a:p>
          </p:txBody>
        </p:sp>
      </p:grpSp>
      <p:pic>
        <p:nvPicPr>
          <p:cNvPr id="90" name="Picture 89" descr="iStock_000007885140Medium.png"/>
          <p:cNvPicPr>
            <a:picLocks noChangeAspect="1"/>
          </p:cNvPicPr>
          <p:nvPr/>
        </p:nvPicPr>
        <p:blipFill>
          <a:blip r:embed="rId48" cstate="print"/>
          <a:stretch>
            <a:fillRect/>
          </a:stretch>
        </p:blipFill>
        <p:spPr>
          <a:xfrm rot="157633">
            <a:off x="5207001" y="3445237"/>
            <a:ext cx="1724818" cy="1390209"/>
          </a:xfrm>
          <a:prstGeom prst="rect">
            <a:avLst/>
          </a:prstGeom>
        </p:spPr>
      </p:pic>
      <p:sp>
        <p:nvSpPr>
          <p:cNvPr id="83" name="Rectangle 82"/>
          <p:cNvSpPr/>
          <p:nvPr/>
        </p:nvSpPr>
        <p:spPr>
          <a:xfrm>
            <a:off x="135332" y="5445182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571500" lvl="0" indent="-571500" eaLnBrk="0" hangingPunct="0">
              <a:tabLst>
                <a:tab pos="571500" algn="l"/>
                <a:tab pos="742950" algn="l"/>
              </a:tabLst>
            </a:pPr>
            <a:r>
              <a:rPr lang="en-US" sz="600" dirty="0" smtClean="0">
                <a:solidFill>
                  <a:srgbClr val="807F83"/>
                </a:solidFill>
                <a:ea typeface="ＭＳ Ｐゴシック" pitchFamily="34" charset="-128"/>
              </a:rPr>
              <a:t>Note:	</a:t>
            </a:r>
            <a:r>
              <a:rPr lang="en-US" sz="600" dirty="0" smtClean="0">
                <a:solidFill>
                  <a:srgbClr val="807F83"/>
                </a:solidFill>
              </a:rPr>
              <a:t>Investments include both annual </a:t>
            </a:r>
            <a:r>
              <a:rPr lang="en-US" sz="600" dirty="0" err="1" smtClean="0">
                <a:solidFill>
                  <a:srgbClr val="807F83"/>
                </a:solidFill>
              </a:rPr>
              <a:t>capex</a:t>
            </a:r>
            <a:r>
              <a:rPr lang="en-US" sz="600" dirty="0" smtClean="0">
                <a:solidFill>
                  <a:srgbClr val="807F83"/>
                </a:solidFill>
              </a:rPr>
              <a:t> and </a:t>
            </a:r>
            <a:r>
              <a:rPr lang="en-US" sz="600" dirty="0" err="1" smtClean="0">
                <a:solidFill>
                  <a:srgbClr val="807F83"/>
                </a:solidFill>
              </a:rPr>
              <a:t>opex</a:t>
            </a:r>
            <a:r>
              <a:rPr lang="en-US" sz="600" dirty="0" smtClean="0">
                <a:solidFill>
                  <a:srgbClr val="807F83"/>
                </a:solidFill>
              </a:rPr>
              <a:t> forecasts for IP; revenue based on linear regression with R</a:t>
            </a:r>
            <a:r>
              <a:rPr lang="en-US" sz="600" baseline="30000" dirty="0" smtClean="0">
                <a:solidFill>
                  <a:srgbClr val="807F83"/>
                </a:solidFill>
              </a:rPr>
              <a:t>2</a:t>
            </a:r>
            <a:r>
              <a:rPr lang="en-US" sz="600" dirty="0" smtClean="0">
                <a:solidFill>
                  <a:srgbClr val="807F83"/>
                </a:solidFill>
              </a:rPr>
              <a:t>=0.98836 plus incremental revenue from scaling existing video delivery; </a:t>
            </a:r>
            <a:r>
              <a:rPr lang="en-US" sz="600" dirty="0" err="1" smtClean="0">
                <a:solidFill>
                  <a:srgbClr val="807F83"/>
                </a:solidFill>
              </a:rPr>
              <a:t>capex</a:t>
            </a:r>
            <a:r>
              <a:rPr lang="en-US" sz="600" dirty="0" smtClean="0">
                <a:solidFill>
                  <a:srgbClr val="807F83"/>
                </a:solidFill>
              </a:rPr>
              <a:t> adjusted for annual improvements of 31.38% reflecting combined historical capacity improvements and price reductions; </a:t>
            </a:r>
            <a:r>
              <a:rPr lang="en-US" sz="600" dirty="0" err="1" smtClean="0">
                <a:solidFill>
                  <a:srgbClr val="807F83"/>
                </a:solidFill>
              </a:rPr>
              <a:t>opex</a:t>
            </a:r>
            <a:r>
              <a:rPr lang="en-US" sz="600" dirty="0" smtClean="0">
                <a:solidFill>
                  <a:srgbClr val="807F83"/>
                </a:solidFill>
              </a:rPr>
              <a:t> adjusted for annual improvements of 29.49% reflecting historical </a:t>
            </a:r>
            <a:r>
              <a:rPr lang="en-US" sz="600" dirty="0" err="1" smtClean="0">
                <a:solidFill>
                  <a:srgbClr val="807F83"/>
                </a:solidFill>
              </a:rPr>
              <a:t>opex</a:t>
            </a:r>
            <a:r>
              <a:rPr lang="en-US" sz="600" dirty="0" smtClean="0">
                <a:solidFill>
                  <a:srgbClr val="807F83"/>
                </a:solidFill>
              </a:rPr>
              <a:t> improvements</a:t>
            </a:r>
            <a:endParaRPr lang="en-US" sz="600" dirty="0">
              <a:solidFill>
                <a:srgbClr val="807F83"/>
              </a:solidFill>
              <a:ea typeface="ＭＳ Ｐゴシック" pitchFamily="34" charset="-128"/>
            </a:endParaRPr>
          </a:p>
        </p:txBody>
      </p:sp>
      <p:sp>
        <p:nvSpPr>
          <p:cNvPr id="98" name="Rounded Rectangle 97"/>
          <p:cNvSpPr/>
          <p:nvPr/>
        </p:nvSpPr>
        <p:spPr>
          <a:xfrm>
            <a:off x="4653023" y="5439976"/>
            <a:ext cx="4039564" cy="467991"/>
          </a:xfrm>
          <a:prstGeom prst="roundRect">
            <a:avLst>
              <a:gd name="adj" fmla="val 21750"/>
            </a:avLst>
          </a:prstGeom>
          <a:gradFill flip="none" rotWithShape="1">
            <a:gsLst>
              <a:gs pos="0">
                <a:schemeClr val="accent5">
                  <a:lumMod val="50000"/>
                  <a:shade val="30000"/>
                  <a:satMod val="115000"/>
                  <a:alpha val="0"/>
                </a:schemeClr>
              </a:gs>
              <a:gs pos="71000">
                <a:schemeClr val="bg1">
                  <a:alpha val="25000"/>
                </a:schemeClr>
              </a:gs>
              <a:gs pos="100000">
                <a:schemeClr val="accent5">
                  <a:lumMod val="50000"/>
                  <a:shade val="100000"/>
                  <a:satMod val="115000"/>
                  <a:alpha val="0"/>
                </a:schemeClr>
              </a:gs>
              <a:gs pos="27000">
                <a:schemeClr val="bg1">
                  <a:alpha val="25000"/>
                </a:schemeClr>
              </a:gs>
            </a:gsLst>
            <a:lin ang="0" scaled="0"/>
            <a:tileRect/>
          </a:gradFill>
          <a:ln w="9525" algn="ctr">
            <a:noFill/>
            <a:round/>
            <a:headEnd/>
            <a:tailEnd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anchor="ctr"/>
          <a:lstStyle/>
          <a:p>
            <a:pPr algn="ctr"/>
            <a:endParaRPr lang="en-US" sz="1400" b="1">
              <a:gradFill flip="none" rotWithShape="1">
                <a:gsLst>
                  <a:gs pos="0">
                    <a:srgbClr val="807F83">
                      <a:lumMod val="60000"/>
                      <a:lumOff val="40000"/>
                    </a:srgbClr>
                  </a:gs>
                  <a:gs pos="100000">
                    <a:srgbClr val="807F83">
                      <a:lumMod val="20000"/>
                      <a:lumOff val="80000"/>
                    </a:srgbClr>
                  </a:gs>
                </a:gsLst>
                <a:lin ang="16200000" scaled="0"/>
                <a:tileRect/>
              </a:gradFill>
            </a:endParaRPr>
          </a:p>
        </p:txBody>
      </p:sp>
      <p:sp>
        <p:nvSpPr>
          <p:cNvPr id="92" name="Rectangle 2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279993" y="5694557"/>
            <a:ext cx="1433512" cy="1524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574675"/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  <a:ea typeface="Arial Unicode MS" pitchFamily="34" charset="-128"/>
                <a:cs typeface="Arial" pitchFamily="34" charset="0"/>
              </a:rPr>
              <a:t>Forecasted Investment from IP</a:t>
            </a:r>
            <a:endParaRPr lang="en-US" sz="900" dirty="0">
              <a:solidFill>
                <a:schemeClr val="accent6">
                  <a:lumMod val="60000"/>
                  <a:lumOff val="40000"/>
                </a:schemeClr>
              </a:solidFill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3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79993" y="5491357"/>
            <a:ext cx="1323975" cy="1524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574675"/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  <a:ea typeface="Arial Unicode MS" pitchFamily="34" charset="-128"/>
                <a:cs typeface="Arial" pitchFamily="34" charset="0"/>
              </a:rPr>
              <a:t>Historical Investment from IP</a:t>
            </a:r>
            <a:endParaRPr lang="en-US" sz="900" dirty="0">
              <a:solidFill>
                <a:schemeClr val="accent6">
                  <a:lumMod val="60000"/>
                  <a:lumOff val="40000"/>
                </a:schemeClr>
              </a:solidFill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4" name="Line 33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6900580" y="5764407"/>
            <a:ext cx="328613" cy="0"/>
          </a:xfrm>
          <a:prstGeom prst="line">
            <a:avLst/>
          </a:prstGeom>
          <a:noFill/>
          <a:ln w="28575">
            <a:solidFill>
              <a:schemeClr val="accent6"/>
            </a:solidFill>
            <a:prstDash val="dash"/>
            <a:round/>
            <a:headEnd/>
            <a:tailEnd/>
          </a:ln>
          <a:effectLst/>
        </p:spPr>
        <p:txBody>
          <a:bodyPr wrap="none" tIns="0" rIns="0" bIns="0" anchor="ctr"/>
          <a:lstStyle/>
          <a:p>
            <a:endParaRPr lang="en-US" sz="1000"/>
          </a:p>
        </p:txBody>
      </p:sp>
      <p:sp>
        <p:nvSpPr>
          <p:cNvPr id="95" name="Line 34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6900580" y="5561207"/>
            <a:ext cx="328613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tIns="0" rIns="0" bIns="0" anchor="ctr"/>
          <a:lstStyle/>
          <a:p>
            <a:endParaRPr lang="en-US" sz="1000"/>
          </a:p>
        </p:txBody>
      </p:sp>
      <p:sp>
        <p:nvSpPr>
          <p:cNvPr id="86" name="Line 24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4768015" y="5764407"/>
            <a:ext cx="328613" cy="0"/>
          </a:xfrm>
          <a:prstGeom prst="line">
            <a:avLst/>
          </a:prstGeom>
          <a:noFill/>
          <a:ln w="28575">
            <a:solidFill>
              <a:srgbClr val="39B54A"/>
            </a:solidFill>
            <a:prstDash val="dash"/>
            <a:round/>
            <a:headEnd/>
            <a:tailEnd/>
          </a:ln>
          <a:effectLst/>
        </p:spPr>
        <p:txBody>
          <a:bodyPr wrap="none" tIns="0" rIns="0" bIns="0" anchor="ctr"/>
          <a:lstStyle/>
          <a:p>
            <a:endParaRPr lang="en-US" sz="1000"/>
          </a:p>
        </p:txBody>
      </p:sp>
      <p:sp>
        <p:nvSpPr>
          <p:cNvPr id="91" name="Line 25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4768015" y="5561207"/>
            <a:ext cx="328613" cy="0"/>
          </a:xfrm>
          <a:prstGeom prst="line">
            <a:avLst/>
          </a:prstGeom>
          <a:noFill/>
          <a:ln w="28575">
            <a:solidFill>
              <a:srgbClr val="39B54A"/>
            </a:solidFill>
            <a:round/>
            <a:headEnd/>
            <a:tailEnd/>
          </a:ln>
          <a:effectLst/>
        </p:spPr>
        <p:txBody>
          <a:bodyPr wrap="none" tIns="0" rIns="0" bIns="0" anchor="ctr"/>
          <a:lstStyle/>
          <a:p>
            <a:endParaRPr lang="en-US" sz="1000"/>
          </a:p>
        </p:txBody>
      </p:sp>
      <p:sp>
        <p:nvSpPr>
          <p:cNvPr id="96" name="Rectangle 3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156953" y="5694557"/>
            <a:ext cx="1433512" cy="1524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574675"/>
            <a:r>
              <a:rPr lang="en-US" sz="900" dirty="0">
                <a:solidFill>
                  <a:schemeClr val="accent6">
                    <a:lumMod val="60000"/>
                    <a:lumOff val="40000"/>
                  </a:schemeClr>
                </a:solidFill>
                <a:ea typeface="Arial Unicode MS" pitchFamily="34" charset="-128"/>
                <a:cs typeface="Arial" pitchFamily="34" charset="0"/>
              </a:rPr>
              <a:t>Forecasted Revenue from IP</a:t>
            </a:r>
          </a:p>
        </p:txBody>
      </p:sp>
      <p:sp>
        <p:nvSpPr>
          <p:cNvPr id="97" name="Rectangle 3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147428" y="5491357"/>
            <a:ext cx="1323975" cy="1524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574675"/>
            <a:r>
              <a:rPr lang="en-US" sz="900" dirty="0">
                <a:solidFill>
                  <a:schemeClr val="accent6">
                    <a:lumMod val="60000"/>
                    <a:lumOff val="40000"/>
                  </a:schemeClr>
                </a:solidFill>
                <a:ea typeface="Arial Unicode MS" pitchFamily="34" charset="-128"/>
                <a:cs typeface="Arial" pitchFamily="34" charset="0"/>
              </a:rPr>
              <a:t>Historical Revenue from IP</a:t>
            </a:r>
          </a:p>
        </p:txBody>
      </p:sp>
      <p:sp>
        <p:nvSpPr>
          <p:cNvPr id="99" name="Text Box 1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blackWhite">
          <a:xfrm rot="21300000">
            <a:off x="1353809" y="3162624"/>
            <a:ext cx="1695450" cy="249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en-US" sz="1100" b="1" dirty="0" smtClean="0">
                <a:gradFill flip="none" rotWithShape="1">
                  <a:gsLst>
                    <a:gs pos="0">
                      <a:schemeClr val="bg2">
                        <a:lumMod val="60000"/>
                        <a:lumOff val="40000"/>
                        <a:shade val="30000"/>
                        <a:satMod val="115000"/>
                      </a:schemeClr>
                    </a:gs>
                    <a:gs pos="50000">
                      <a:schemeClr val="bg2">
                        <a:lumMod val="60000"/>
                        <a:lumOff val="40000"/>
                        <a:shade val="67500"/>
                        <a:satMod val="115000"/>
                      </a:schemeClr>
                    </a:gs>
                    <a:gs pos="100000">
                      <a:schemeClr val="bg2">
                        <a:lumMod val="60000"/>
                        <a:lumOff val="40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venue</a:t>
            </a:r>
            <a:endParaRPr lang="en-US" sz="1100" b="1" dirty="0">
              <a:gradFill flip="none" rotWithShape="1">
                <a:gsLst>
                  <a:gs pos="0">
                    <a:schemeClr val="bg2">
                      <a:lumMod val="60000"/>
                      <a:lumOff val="40000"/>
                      <a:shade val="30000"/>
                      <a:satMod val="115000"/>
                    </a:schemeClr>
                  </a:gs>
                  <a:gs pos="50000">
                    <a:schemeClr val="bg2">
                      <a:lumMod val="60000"/>
                      <a:lumOff val="40000"/>
                      <a:shade val="67500"/>
                      <a:satMod val="115000"/>
                    </a:schemeClr>
                  </a:gs>
                  <a:gs pos="100000">
                    <a:schemeClr val="bg2">
                      <a:lumMod val="60000"/>
                      <a:lumOff val="40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0" name="Text Box 1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blackWhite">
          <a:xfrm rot="21420000">
            <a:off x="1409389" y="4121847"/>
            <a:ext cx="1695450" cy="249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en-US" sz="1100" b="1" dirty="0" smtClean="0">
                <a:gradFill flip="none" rotWithShape="1">
                  <a:gsLst>
                    <a:gs pos="0">
                      <a:schemeClr val="accent6">
                        <a:lumMod val="20000"/>
                        <a:lumOff val="80000"/>
                        <a:shade val="30000"/>
                        <a:satMod val="115000"/>
                      </a:schemeClr>
                    </a:gs>
                    <a:gs pos="50000">
                      <a:schemeClr val="accent6">
                        <a:lumMod val="20000"/>
                        <a:lumOff val="80000"/>
                        <a:shade val="67500"/>
                        <a:satMod val="115000"/>
                      </a:schemeClr>
                    </a:gs>
                    <a:gs pos="100000">
                      <a:schemeClr val="accent6">
                        <a:lumMod val="20000"/>
                        <a:lumOff val="80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vestment</a:t>
            </a:r>
            <a:endParaRPr lang="en-US" sz="1100" b="1" dirty="0">
              <a:gradFill flip="none" rotWithShape="1">
                <a:gsLst>
                  <a:gs pos="0">
                    <a:schemeClr val="accent6">
                      <a:lumMod val="20000"/>
                      <a:lumOff val="80000"/>
                      <a:shade val="30000"/>
                      <a:satMod val="115000"/>
                    </a:schemeClr>
                  </a:gs>
                  <a:gs pos="50000">
                    <a:schemeClr val="accent6">
                      <a:lumMod val="20000"/>
                      <a:lumOff val="80000"/>
                      <a:shade val="67500"/>
                      <a:satMod val="115000"/>
                    </a:schemeClr>
                  </a:gs>
                  <a:gs pos="100000">
                    <a:schemeClr val="accent6">
                      <a:lumMod val="20000"/>
                      <a:lumOff val="80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368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1.38778E-17 L -0.73645 0.3919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368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8" y="196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9" dur="2000" fill="hold"/>
                                        <p:tgtEl>
                                          <p:spTgt spid="36866"/>
                                        </p:tgtEl>
                                      </p:cBhvr>
                                      <p:by x="32000" y="32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3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9" grpId="0"/>
      <p:bldP spid="10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6"/>
          <p:cNvGrpSpPr/>
          <p:nvPr/>
        </p:nvGrpSpPr>
        <p:grpSpPr>
          <a:xfrm>
            <a:off x="651164" y="2658099"/>
            <a:ext cx="3491343" cy="3727113"/>
            <a:chOff x="641268" y="2660078"/>
            <a:chExt cx="3491343" cy="3727113"/>
          </a:xfrm>
        </p:grpSpPr>
        <p:grpSp>
          <p:nvGrpSpPr>
            <p:cNvPr id="4" name="Group 28"/>
            <p:cNvGrpSpPr/>
            <p:nvPr/>
          </p:nvGrpSpPr>
          <p:grpSpPr>
            <a:xfrm>
              <a:off x="1923801" y="2660078"/>
              <a:ext cx="1095626" cy="1199404"/>
              <a:chOff x="729332" y="3018078"/>
              <a:chExt cx="2546066" cy="2787231"/>
            </a:xfrm>
          </p:grpSpPr>
          <p:pic>
            <p:nvPicPr>
              <p:cNvPr id="58" name="Picture 57" descr="iStock_000001964676Medium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258342" y="3649709"/>
                <a:ext cx="2017056" cy="2155600"/>
              </a:xfrm>
              <a:prstGeom prst="rect">
                <a:avLst/>
              </a:prstGeom>
              <a:effectLst>
                <a:outerShdw blurRad="254000" dist="38100" dir="5400000" algn="t" rotWithShape="0">
                  <a:prstClr val="black">
                    <a:alpha val="60000"/>
                  </a:prstClr>
                </a:outerShdw>
              </a:effectLst>
            </p:spPr>
          </p:pic>
          <p:sp>
            <p:nvSpPr>
              <p:cNvPr id="59" name="Curved Right Arrow 58"/>
              <p:cNvSpPr/>
              <p:nvPr/>
            </p:nvSpPr>
            <p:spPr>
              <a:xfrm rot="5957197">
                <a:off x="1074163" y="2673247"/>
                <a:ext cx="1157682" cy="1847343"/>
              </a:xfrm>
              <a:prstGeom prst="curvedRightArrow">
                <a:avLst>
                  <a:gd name="adj1" fmla="val 44022"/>
                  <a:gd name="adj2" fmla="val 79786"/>
                  <a:gd name="adj3" fmla="val 38161"/>
                </a:avLst>
              </a:prstGeom>
              <a:gradFill flip="none" rotWithShape="1">
                <a:gsLst>
                  <a:gs pos="1000">
                    <a:schemeClr val="bg2">
                      <a:lumMod val="60000"/>
                      <a:lumOff val="40000"/>
                      <a:alpha val="50000"/>
                    </a:schemeClr>
                  </a:gs>
                  <a:gs pos="100000">
                    <a:schemeClr val="bg2">
                      <a:lumMod val="20000"/>
                      <a:lumOff val="80000"/>
                      <a:alpha val="5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190500" algn="ctr" rotWithShape="0">
                  <a:schemeClr val="bg1">
                    <a:alpha val="6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" name="Group 34"/>
            <p:cNvGrpSpPr/>
            <p:nvPr/>
          </p:nvGrpSpPr>
          <p:grpSpPr>
            <a:xfrm>
              <a:off x="641268" y="2801941"/>
              <a:ext cx="1397324" cy="1529680"/>
              <a:chOff x="729332" y="3018078"/>
              <a:chExt cx="2546064" cy="2787231"/>
            </a:xfrm>
          </p:grpSpPr>
          <p:pic>
            <p:nvPicPr>
              <p:cNvPr id="56" name="Picture 55" descr="iStock_000001964676Medium.pn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258342" y="3649707"/>
                <a:ext cx="2017054" cy="2155602"/>
              </a:xfrm>
              <a:prstGeom prst="rect">
                <a:avLst/>
              </a:prstGeom>
              <a:effectLst>
                <a:outerShdw blurRad="254000" dist="38100" dir="5400000" algn="t" rotWithShape="0">
                  <a:prstClr val="black">
                    <a:alpha val="60000"/>
                  </a:prstClr>
                </a:outerShdw>
              </a:effectLst>
            </p:spPr>
          </p:pic>
          <p:sp>
            <p:nvSpPr>
              <p:cNvPr id="57" name="Curved Right Arrow 56"/>
              <p:cNvSpPr/>
              <p:nvPr/>
            </p:nvSpPr>
            <p:spPr>
              <a:xfrm rot="5957197">
                <a:off x="1074163" y="2673247"/>
                <a:ext cx="1157682" cy="1847343"/>
              </a:xfrm>
              <a:prstGeom prst="curvedRightArrow">
                <a:avLst>
                  <a:gd name="adj1" fmla="val 44022"/>
                  <a:gd name="adj2" fmla="val 79786"/>
                  <a:gd name="adj3" fmla="val 38161"/>
                </a:avLst>
              </a:prstGeom>
              <a:gradFill flip="none" rotWithShape="1">
                <a:gsLst>
                  <a:gs pos="0">
                    <a:schemeClr val="bg2">
                      <a:lumMod val="60000"/>
                      <a:lumOff val="40000"/>
                      <a:alpha val="50000"/>
                    </a:schemeClr>
                  </a:gs>
                  <a:gs pos="100000">
                    <a:schemeClr val="bg2">
                      <a:lumMod val="20000"/>
                      <a:lumOff val="80000"/>
                      <a:alpha val="5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190500" algn="ctr" rotWithShape="0">
                  <a:schemeClr val="bg1">
                    <a:alpha val="6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" name="Group 23"/>
            <p:cNvGrpSpPr/>
            <p:nvPr/>
          </p:nvGrpSpPr>
          <p:grpSpPr>
            <a:xfrm>
              <a:off x="2861950" y="2991899"/>
              <a:ext cx="1270661" cy="1391018"/>
              <a:chOff x="729332" y="3018078"/>
              <a:chExt cx="2546066" cy="2787233"/>
            </a:xfrm>
          </p:grpSpPr>
          <p:pic>
            <p:nvPicPr>
              <p:cNvPr id="54" name="Picture 53" descr="iStock_000001964676Medium.pn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258344" y="3649708"/>
                <a:ext cx="2017054" cy="2155603"/>
              </a:xfrm>
              <a:prstGeom prst="rect">
                <a:avLst/>
              </a:prstGeom>
              <a:effectLst>
                <a:outerShdw blurRad="254000" dist="38100" dir="5400000" algn="t" rotWithShape="0">
                  <a:prstClr val="black">
                    <a:alpha val="60000"/>
                  </a:prstClr>
                </a:outerShdw>
              </a:effectLst>
            </p:spPr>
          </p:pic>
          <p:sp>
            <p:nvSpPr>
              <p:cNvPr id="55" name="Curved Right Arrow 54"/>
              <p:cNvSpPr/>
              <p:nvPr/>
            </p:nvSpPr>
            <p:spPr>
              <a:xfrm rot="5957197">
                <a:off x="1074163" y="2673247"/>
                <a:ext cx="1157682" cy="1847343"/>
              </a:xfrm>
              <a:prstGeom prst="curvedRightArrow">
                <a:avLst>
                  <a:gd name="adj1" fmla="val 44022"/>
                  <a:gd name="adj2" fmla="val 79786"/>
                  <a:gd name="adj3" fmla="val 38161"/>
                </a:avLst>
              </a:prstGeom>
              <a:gradFill flip="none" rotWithShape="1">
                <a:gsLst>
                  <a:gs pos="0">
                    <a:schemeClr val="bg2">
                      <a:lumMod val="60000"/>
                      <a:lumOff val="40000"/>
                      <a:alpha val="50000"/>
                    </a:schemeClr>
                  </a:gs>
                  <a:gs pos="100000">
                    <a:schemeClr val="bg2">
                      <a:lumMod val="20000"/>
                      <a:lumOff val="80000"/>
                      <a:alpha val="5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190500" algn="ctr" rotWithShape="0">
                  <a:schemeClr val="bg1">
                    <a:alpha val="6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" name="Group 22"/>
            <p:cNvGrpSpPr/>
            <p:nvPr/>
          </p:nvGrpSpPr>
          <p:grpSpPr>
            <a:xfrm>
              <a:off x="1251842" y="3896565"/>
              <a:ext cx="2275125" cy="2490626"/>
              <a:chOff x="729332" y="3018078"/>
              <a:chExt cx="2546068" cy="2787233"/>
            </a:xfrm>
          </p:grpSpPr>
          <p:pic>
            <p:nvPicPr>
              <p:cNvPr id="52" name="Picture 51" descr="iStock_000001964676Medium.png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258342" y="3649709"/>
                <a:ext cx="2017058" cy="2155602"/>
              </a:xfrm>
              <a:prstGeom prst="rect">
                <a:avLst/>
              </a:prstGeom>
              <a:effectLst>
                <a:outerShdw blurRad="254000" dist="38100" dir="5400000" algn="t" rotWithShape="0">
                  <a:prstClr val="black">
                    <a:alpha val="60000"/>
                  </a:prstClr>
                </a:outerShdw>
              </a:effectLst>
            </p:spPr>
          </p:pic>
          <p:sp>
            <p:nvSpPr>
              <p:cNvPr id="53" name="Curved Right Arrow 52"/>
              <p:cNvSpPr/>
              <p:nvPr/>
            </p:nvSpPr>
            <p:spPr>
              <a:xfrm rot="5957197">
                <a:off x="1074163" y="2673247"/>
                <a:ext cx="1157682" cy="1847343"/>
              </a:xfrm>
              <a:prstGeom prst="curvedRightArrow">
                <a:avLst>
                  <a:gd name="adj1" fmla="val 44022"/>
                  <a:gd name="adj2" fmla="val 79786"/>
                  <a:gd name="adj3" fmla="val 38161"/>
                </a:avLst>
              </a:prstGeom>
              <a:gradFill flip="none" rotWithShape="1">
                <a:gsLst>
                  <a:gs pos="0">
                    <a:schemeClr val="bg2">
                      <a:lumMod val="60000"/>
                      <a:lumOff val="40000"/>
                      <a:alpha val="50000"/>
                    </a:schemeClr>
                  </a:gs>
                  <a:gs pos="100000">
                    <a:schemeClr val="bg2">
                      <a:lumMod val="20000"/>
                      <a:lumOff val="80000"/>
                      <a:alpha val="5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190500" algn="ctr" rotWithShape="0">
                  <a:schemeClr val="bg1">
                    <a:alpha val="6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1" name="Rectangle 10"/>
          <p:cNvSpPr/>
          <p:nvPr/>
        </p:nvSpPr>
        <p:spPr>
          <a:xfrm>
            <a:off x="452063" y="951345"/>
            <a:ext cx="8250147" cy="5279530"/>
          </a:xfrm>
          <a:prstGeom prst="rect">
            <a:avLst/>
          </a:prstGeom>
          <a:gradFill>
            <a:gsLst>
              <a:gs pos="0">
                <a:srgbClr val="BABCBE">
                  <a:alpha val="0"/>
                </a:srgbClr>
              </a:gs>
              <a:gs pos="100000">
                <a:schemeClr val="accent5">
                  <a:lumMod val="40000"/>
                  <a:lumOff val="60000"/>
                  <a:alpha val="1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iving To A Platform view</a:t>
            </a:r>
            <a:endParaRPr lang="en-US" dirty="0"/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495694" y="2231920"/>
            <a:ext cx="3346776" cy="42478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pPr marL="457200" lvl="2" indent="-223838">
              <a:spcBef>
                <a:spcPts val="2400"/>
              </a:spcBef>
              <a:buFont typeface="Arial" pitchFamily="34" charset="0"/>
              <a:buChar char="•"/>
            </a:pPr>
            <a:r>
              <a:rPr lang="en-US" dirty="0" smtClean="0">
                <a:solidFill>
                  <a:srgbClr val="C0C0C0"/>
                </a:solidFill>
              </a:rPr>
              <a:t>Thinking it’s about the box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83819" y="1289680"/>
            <a:ext cx="4108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What we need to get pas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463056" y="1289680"/>
            <a:ext cx="4017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One example…</a:t>
            </a:r>
          </a:p>
        </p:txBody>
      </p:sp>
      <p:grpSp>
        <p:nvGrpSpPr>
          <p:cNvPr id="8" name="Group 27"/>
          <p:cNvGrpSpPr/>
          <p:nvPr/>
        </p:nvGrpSpPr>
        <p:grpSpPr>
          <a:xfrm>
            <a:off x="4468956" y="2083967"/>
            <a:ext cx="4005393" cy="3957240"/>
            <a:chOff x="4561422" y="2217529"/>
            <a:chExt cx="4005393" cy="3957240"/>
          </a:xfrm>
        </p:grpSpPr>
        <p:sp>
          <p:nvSpPr>
            <p:cNvPr id="19" name="AutoShape 41"/>
            <p:cNvSpPr>
              <a:spLocks noChangeArrowheads="1"/>
            </p:cNvSpPr>
            <p:nvPr/>
          </p:nvSpPr>
          <p:spPr bwMode="gray">
            <a:xfrm rot="5400000">
              <a:off x="4585499" y="2193452"/>
              <a:ext cx="3957240" cy="4005393"/>
            </a:xfrm>
            <a:prstGeom prst="roundRect">
              <a:avLst>
                <a:gd name="adj" fmla="val 9243"/>
              </a:avLst>
            </a:prstGeom>
            <a:gradFill flip="none" rotWithShape="1">
              <a:gsLst>
                <a:gs pos="15000">
                  <a:schemeClr val="accent1">
                    <a:tint val="66000"/>
                    <a:satMod val="160000"/>
                    <a:alpha val="0"/>
                  </a:schemeClr>
                </a:gs>
                <a:gs pos="100000">
                  <a:schemeClr val="accent1">
                    <a:tint val="23500"/>
                    <a:satMod val="160000"/>
                    <a:alpha val="50000"/>
                  </a:schemeClr>
                </a:gs>
              </a:gsLst>
              <a:lin ang="108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574675">
                <a:defRPr/>
              </a:pPr>
              <a:endParaRPr lang="en-US" dirty="0">
                <a:solidFill>
                  <a:schemeClr val="lt1"/>
                </a:solidFill>
                <a:latin typeface="+mj-lt"/>
                <a:ea typeface="+mn-ea"/>
              </a:endParaRPr>
            </a:p>
          </p:txBody>
        </p:sp>
        <p:sp>
          <p:nvSpPr>
            <p:cNvPr id="26" name="AutoShape 4"/>
            <p:cNvSpPr>
              <a:spLocks noChangeArrowheads="1"/>
            </p:cNvSpPr>
            <p:nvPr/>
          </p:nvSpPr>
          <p:spPr bwMode="gray">
            <a:xfrm rot="5400000">
              <a:off x="5149417" y="2882014"/>
              <a:ext cx="2829405" cy="3743578"/>
            </a:xfrm>
            <a:prstGeom prst="roundRect">
              <a:avLst>
                <a:gd name="adj" fmla="val 6512"/>
              </a:avLst>
            </a:prstGeom>
            <a:solidFill>
              <a:schemeClr val="bg1">
                <a:alpha val="63136"/>
              </a:schemeClr>
            </a:solidFill>
            <a:ln w="28575">
              <a:noFill/>
              <a:round/>
              <a:headEnd/>
              <a:tailEnd/>
            </a:ln>
            <a:effectLst>
              <a:outerShdw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tIns="0" rIns="0" bIns="0" anchor="ctr"/>
            <a:lstStyle/>
            <a:p>
              <a:pPr defTabSz="574675">
                <a:spcBef>
                  <a:spcPct val="50000"/>
                </a:spcBef>
                <a:defRPr/>
              </a:pPr>
              <a:endParaRPr lang="en-US" sz="2000" dirty="0">
                <a:solidFill>
                  <a:srgbClr val="4D4D4D"/>
                </a:solidFill>
                <a:latin typeface="+mj-lt"/>
                <a:ea typeface="ＭＳ Ｐゴシック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764708" y="3406762"/>
              <a:ext cx="3573119" cy="26161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3838" lvl="2" indent="-223838">
                <a:spcBef>
                  <a:spcPts val="600"/>
                </a:spcBef>
                <a:buFont typeface="Arial" pitchFamily="34" charset="0"/>
                <a:buChar char="•"/>
              </a:pPr>
              <a:r>
                <a:rPr lang="en-US" dirty="0" smtClean="0">
                  <a:solidFill>
                    <a:srgbClr val="C0C0C0"/>
                  </a:solidFill>
                </a:rPr>
                <a:t>Established to solve the new media problem</a:t>
              </a:r>
            </a:p>
            <a:p>
              <a:pPr marL="223838" lvl="2" indent="-223838">
                <a:spcBef>
                  <a:spcPts val="600"/>
                </a:spcBef>
                <a:buFont typeface="Arial" pitchFamily="34" charset="0"/>
                <a:buChar char="•"/>
              </a:pPr>
              <a:r>
                <a:rPr lang="en-US" dirty="0" smtClean="0">
                  <a:solidFill>
                    <a:srgbClr val="C0C0C0"/>
                  </a:solidFill>
                </a:rPr>
                <a:t>Needed an open platform on which to scale</a:t>
              </a:r>
            </a:p>
            <a:p>
              <a:pPr marL="223838" lvl="2" indent="-223838">
                <a:spcBef>
                  <a:spcPts val="600"/>
                </a:spcBef>
                <a:buFont typeface="Arial" pitchFamily="34" charset="0"/>
                <a:buChar char="•"/>
              </a:pPr>
              <a:r>
                <a:rPr lang="en-US" dirty="0" smtClean="0">
                  <a:solidFill>
                    <a:srgbClr val="C0C0C0"/>
                  </a:solidFill>
                </a:rPr>
                <a:t>Needed to drive more value into the network equation</a:t>
              </a:r>
            </a:p>
            <a:p>
              <a:pPr marL="0" lvl="2">
                <a:spcBef>
                  <a:spcPts val="1200"/>
                </a:spcBef>
              </a:pPr>
              <a:r>
                <a:rPr lang="en-US" i="1" dirty="0" smtClean="0">
                  <a:solidFill>
                    <a:srgbClr val="C0C0C0"/>
                  </a:solidFill>
                </a:rPr>
                <a:t>Partnering with Juniper to deliver new solutions</a:t>
              </a:r>
            </a:p>
          </p:txBody>
        </p:sp>
        <p:pic>
          <p:nvPicPr>
            <p:cNvPr id="27" name="Picture 26" descr="Ankeena.png"/>
            <p:cNvPicPr>
              <a:picLocks noChangeAspect="1"/>
            </p:cNvPicPr>
            <p:nvPr/>
          </p:nvPicPr>
          <p:blipFill>
            <a:blip r:embed="rId7" cstate="print"/>
            <a:srcRect r="50772"/>
            <a:stretch>
              <a:fillRect/>
            </a:stretch>
          </p:blipFill>
          <p:spPr>
            <a:xfrm>
              <a:off x="4992174" y="2470402"/>
              <a:ext cx="3143891" cy="709598"/>
            </a:xfrm>
            <a:prstGeom prst="rect">
              <a:avLst/>
            </a:prstGeom>
          </p:spPr>
        </p:pic>
      </p:grpSp>
      <p:grpSp>
        <p:nvGrpSpPr>
          <p:cNvPr id="9" name="Group 39"/>
          <p:cNvGrpSpPr/>
          <p:nvPr/>
        </p:nvGrpSpPr>
        <p:grpSpPr>
          <a:xfrm>
            <a:off x="483819" y="1289680"/>
            <a:ext cx="4108730" cy="1367023"/>
            <a:chOff x="483819" y="1289680"/>
            <a:chExt cx="4108730" cy="1367023"/>
          </a:xfrm>
        </p:grpSpPr>
        <p:sp>
          <p:nvSpPr>
            <p:cNvPr id="30" name="Content Placeholder 2"/>
            <p:cNvSpPr txBox="1">
              <a:spLocks/>
            </p:cNvSpPr>
            <p:nvPr/>
          </p:nvSpPr>
          <p:spPr>
            <a:xfrm>
              <a:off x="495694" y="2231920"/>
              <a:ext cx="3346776" cy="424783"/>
            </a:xfrm>
            <a:prstGeom prst="rect">
              <a:avLst/>
            </a:prstGeom>
          </p:spPr>
          <p:txBody>
            <a:bodyPr vert="horz" lIns="0" tIns="45720" rIns="91440" bIns="45720" rtlCol="0" anchor="t" anchorCtr="0">
              <a:noAutofit/>
            </a:bodyPr>
            <a:lstStyle/>
            <a:p>
              <a:pPr marL="457200" lvl="2" indent="-223838">
                <a:spcBef>
                  <a:spcPts val="2400"/>
                </a:spcBef>
                <a:buFont typeface="Arial" pitchFamily="34" charset="0"/>
                <a:buChar char="•"/>
              </a:pPr>
              <a:r>
                <a:rPr lang="en-US" dirty="0" smtClean="0">
                  <a:solidFill>
                    <a:srgbClr val="C0C0C0">
                      <a:alpha val="35000"/>
                    </a:srgbClr>
                  </a:solidFill>
                </a:rPr>
                <a:t>Thinking it’s about the box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83819" y="1289680"/>
              <a:ext cx="410873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 smtClean="0">
                  <a:gradFill flip="none" rotWithShape="1">
                    <a:gsLst>
                      <a:gs pos="0">
                        <a:srgbClr val="807F83">
                          <a:lumMod val="60000"/>
                          <a:lumOff val="40000"/>
                          <a:alpha val="35000"/>
                        </a:srgbClr>
                      </a:gs>
                      <a:gs pos="100000">
                        <a:srgbClr val="807F83">
                          <a:lumMod val="20000"/>
                          <a:lumOff val="80000"/>
                          <a:alpha val="35000"/>
                        </a:srgbClr>
                      </a:gs>
                    </a:gsLst>
                    <a:lin ang="16200000" scaled="0"/>
                    <a:tileRect/>
                  </a:gradFill>
                </a:rPr>
                <a:t>What we need to get past</a:t>
              </a:r>
            </a:p>
          </p:txBody>
        </p:sp>
      </p:grpSp>
      <p:grpSp>
        <p:nvGrpSpPr>
          <p:cNvPr id="10" name="Group 28"/>
          <p:cNvGrpSpPr/>
          <p:nvPr/>
        </p:nvGrpSpPr>
        <p:grpSpPr>
          <a:xfrm>
            <a:off x="1935676" y="2660077"/>
            <a:ext cx="1095626" cy="1199404"/>
            <a:chOff x="729332" y="3018078"/>
            <a:chExt cx="2546066" cy="2787233"/>
          </a:xfrm>
        </p:grpSpPr>
        <p:pic>
          <p:nvPicPr>
            <p:cNvPr id="32" name="Picture 31" descr="iStock_000001964676Medium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258341" y="3649708"/>
              <a:ext cx="2017057" cy="2155603"/>
            </a:xfrm>
            <a:prstGeom prst="rect">
              <a:avLst/>
            </a:prstGeom>
            <a:effectLst>
              <a:outerShdw blurRad="254000" dist="38100" dir="5400000" algn="t" rotWithShape="0">
                <a:prstClr val="black">
                  <a:alpha val="60000"/>
                </a:prstClr>
              </a:outerShdw>
            </a:effectLst>
          </p:spPr>
        </p:pic>
        <p:sp>
          <p:nvSpPr>
            <p:cNvPr id="33" name="Curved Right Arrow 32"/>
            <p:cNvSpPr/>
            <p:nvPr/>
          </p:nvSpPr>
          <p:spPr>
            <a:xfrm rot="5957197">
              <a:off x="1074163" y="2673247"/>
              <a:ext cx="1157682" cy="1847343"/>
            </a:xfrm>
            <a:prstGeom prst="curvedRightArrow">
              <a:avLst>
                <a:gd name="adj1" fmla="val 44022"/>
                <a:gd name="adj2" fmla="val 79786"/>
                <a:gd name="adj3" fmla="val 38161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90500" algn="ctr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34"/>
          <p:cNvGrpSpPr/>
          <p:nvPr/>
        </p:nvGrpSpPr>
        <p:grpSpPr>
          <a:xfrm>
            <a:off x="653143" y="2801941"/>
            <a:ext cx="1397325" cy="1529680"/>
            <a:chOff x="729332" y="3018078"/>
            <a:chExt cx="2546066" cy="2787231"/>
          </a:xfrm>
        </p:grpSpPr>
        <p:pic>
          <p:nvPicPr>
            <p:cNvPr id="36" name="Picture 35" descr="iStock_000001964676Medium.png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58341" y="3649708"/>
              <a:ext cx="2017057" cy="2155601"/>
            </a:xfrm>
            <a:prstGeom prst="rect">
              <a:avLst/>
            </a:prstGeom>
            <a:effectLst>
              <a:outerShdw blurRad="254000" dist="38100" dir="5400000" algn="t" rotWithShape="0">
                <a:prstClr val="black">
                  <a:alpha val="60000"/>
                </a:prstClr>
              </a:outerShdw>
            </a:effectLst>
          </p:spPr>
        </p:pic>
        <p:sp>
          <p:nvSpPr>
            <p:cNvPr id="39" name="Curved Right Arrow 38"/>
            <p:cNvSpPr/>
            <p:nvPr/>
          </p:nvSpPr>
          <p:spPr>
            <a:xfrm rot="5957197">
              <a:off x="1074163" y="2673247"/>
              <a:ext cx="1157682" cy="1847343"/>
            </a:xfrm>
            <a:prstGeom prst="curvedRightArrow">
              <a:avLst>
                <a:gd name="adj1" fmla="val 44022"/>
                <a:gd name="adj2" fmla="val 79786"/>
                <a:gd name="adj3" fmla="val 38161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90500" algn="ctr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23"/>
          <p:cNvGrpSpPr/>
          <p:nvPr/>
        </p:nvGrpSpPr>
        <p:grpSpPr>
          <a:xfrm>
            <a:off x="2873824" y="2991899"/>
            <a:ext cx="1270661" cy="1391018"/>
            <a:chOff x="729332" y="3018078"/>
            <a:chExt cx="2546068" cy="2787233"/>
          </a:xfrm>
        </p:grpSpPr>
        <p:pic>
          <p:nvPicPr>
            <p:cNvPr id="25" name="Picture 24" descr="iStock_000001964676Medium.png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258341" y="3649708"/>
              <a:ext cx="2017059" cy="2155603"/>
            </a:xfrm>
            <a:prstGeom prst="rect">
              <a:avLst/>
            </a:prstGeom>
            <a:effectLst>
              <a:outerShdw blurRad="254000" dist="38100" dir="5400000" algn="t" rotWithShape="0">
                <a:prstClr val="black">
                  <a:alpha val="60000"/>
                </a:prstClr>
              </a:outerShdw>
            </a:effectLst>
          </p:spPr>
        </p:pic>
        <p:sp>
          <p:nvSpPr>
            <p:cNvPr id="28" name="Curved Right Arrow 27"/>
            <p:cNvSpPr/>
            <p:nvPr/>
          </p:nvSpPr>
          <p:spPr>
            <a:xfrm rot="5957197">
              <a:off x="1074163" y="2673247"/>
              <a:ext cx="1157682" cy="1847343"/>
            </a:xfrm>
            <a:prstGeom prst="curvedRightArrow">
              <a:avLst>
                <a:gd name="adj1" fmla="val 44022"/>
                <a:gd name="adj2" fmla="val 79786"/>
                <a:gd name="adj3" fmla="val 38161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90500" algn="ctr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2"/>
          <p:cNvGrpSpPr/>
          <p:nvPr/>
        </p:nvGrpSpPr>
        <p:grpSpPr>
          <a:xfrm>
            <a:off x="1263717" y="3896565"/>
            <a:ext cx="2275125" cy="2490627"/>
            <a:chOff x="729332" y="3018078"/>
            <a:chExt cx="2546068" cy="2787234"/>
          </a:xfrm>
        </p:grpSpPr>
        <p:pic>
          <p:nvPicPr>
            <p:cNvPr id="20" name="Picture 19" descr="iStock_000001964676Medium.pn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258342" y="3649708"/>
              <a:ext cx="2017058" cy="2155604"/>
            </a:xfrm>
            <a:prstGeom prst="rect">
              <a:avLst/>
            </a:prstGeom>
            <a:effectLst>
              <a:outerShdw blurRad="254000" dist="38100" dir="5400000" algn="t" rotWithShape="0">
                <a:prstClr val="black">
                  <a:alpha val="60000"/>
                </a:prstClr>
              </a:outerShdw>
            </a:effectLst>
          </p:spPr>
        </p:pic>
        <p:sp>
          <p:nvSpPr>
            <p:cNvPr id="13" name="Curved Right Arrow 12"/>
            <p:cNvSpPr/>
            <p:nvPr/>
          </p:nvSpPr>
          <p:spPr>
            <a:xfrm rot="5957197">
              <a:off x="1074163" y="2673247"/>
              <a:ext cx="1157682" cy="1847343"/>
            </a:xfrm>
            <a:prstGeom prst="curvedRightArrow">
              <a:avLst>
                <a:gd name="adj1" fmla="val 44022"/>
                <a:gd name="adj2" fmla="val 79786"/>
                <a:gd name="adj3" fmla="val 38161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90500" algn="ctr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8" grpId="0"/>
      <p:bldP spid="18" grpId="1"/>
      <p:bldP spid="15" grpId="0"/>
      <p:bldP spid="15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460375" y="951345"/>
            <a:ext cx="8237311" cy="5279530"/>
          </a:xfrm>
          <a:prstGeom prst="rect">
            <a:avLst/>
          </a:prstGeom>
          <a:gradFill>
            <a:gsLst>
              <a:gs pos="0">
                <a:srgbClr val="BABCBE">
                  <a:alpha val="0"/>
                </a:srgbClr>
              </a:gs>
              <a:gs pos="100000">
                <a:schemeClr val="accent5">
                  <a:lumMod val="40000"/>
                  <a:lumOff val="60000"/>
                  <a:alpha val="1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ale Or Fail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67607" y="2263452"/>
            <a:ext cx="7190462" cy="3226312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pPr marL="457200" lvl="2" indent="-223838">
              <a:spcBef>
                <a:spcPts val="2400"/>
              </a:spcBef>
              <a:buFont typeface="Arial" pitchFamily="34" charset="0"/>
              <a:buChar char="•"/>
            </a:pPr>
            <a:r>
              <a:rPr lang="en-US" dirty="0" smtClean="0">
                <a:solidFill>
                  <a:srgbClr val="C0C0C0"/>
                </a:solidFill>
              </a:rPr>
              <a:t>With </a:t>
            </a:r>
            <a:r>
              <a:rPr lang="en-US" b="1" dirty="0" smtClean="0">
                <a:solidFill>
                  <a:srgbClr val="C0C0C0"/>
                </a:solidFill>
              </a:rPr>
              <a:t>simplified infrastructures </a:t>
            </a:r>
            <a:r>
              <a:rPr lang="en-US" dirty="0" smtClean="0">
                <a:solidFill>
                  <a:srgbClr val="C0C0C0"/>
                </a:solidFill>
              </a:rPr>
              <a:t>that increase flexibility and improve ROI </a:t>
            </a:r>
          </a:p>
          <a:p>
            <a:pPr marL="457200" lvl="2" indent="-223838">
              <a:spcBef>
                <a:spcPts val="2400"/>
              </a:spcBef>
              <a:buFont typeface="Arial" pitchFamily="34" charset="0"/>
              <a:buChar char="•"/>
            </a:pPr>
            <a:r>
              <a:rPr lang="en-US" dirty="0" smtClean="0">
                <a:solidFill>
                  <a:srgbClr val="C0C0C0"/>
                </a:solidFill>
              </a:rPr>
              <a:t>With </a:t>
            </a:r>
            <a:r>
              <a:rPr lang="en-US" b="1" dirty="0" smtClean="0">
                <a:solidFill>
                  <a:srgbClr val="C0C0C0"/>
                </a:solidFill>
              </a:rPr>
              <a:t>automation</a:t>
            </a:r>
            <a:r>
              <a:rPr lang="en-US" dirty="0" smtClean="0">
                <a:solidFill>
                  <a:srgbClr val="C0C0C0"/>
                </a:solidFill>
              </a:rPr>
              <a:t> that reduces operational costs</a:t>
            </a:r>
          </a:p>
          <a:p>
            <a:pPr marL="457200" lvl="2" indent="-223838">
              <a:spcBef>
                <a:spcPts val="2400"/>
              </a:spcBef>
              <a:buFont typeface="Arial" pitchFamily="34" charset="0"/>
              <a:buChar char="•"/>
            </a:pPr>
            <a:r>
              <a:rPr lang="en-US" dirty="0" smtClean="0">
                <a:solidFill>
                  <a:srgbClr val="C0C0C0"/>
                </a:solidFill>
              </a:rPr>
              <a:t>With </a:t>
            </a:r>
            <a:r>
              <a:rPr lang="en-US" b="1" dirty="0" smtClean="0">
                <a:solidFill>
                  <a:srgbClr val="C0C0C0"/>
                </a:solidFill>
              </a:rPr>
              <a:t>business models </a:t>
            </a:r>
            <a:r>
              <a:rPr lang="en-US" dirty="0" smtClean="0">
                <a:solidFill>
                  <a:srgbClr val="C0C0C0"/>
                </a:solidFill>
              </a:rPr>
              <a:t>that enable new revenue sources</a:t>
            </a:r>
          </a:p>
          <a:p>
            <a:pPr marL="457200" lvl="2" indent="-223838">
              <a:spcBef>
                <a:spcPts val="2400"/>
              </a:spcBef>
              <a:buFont typeface="Arial" pitchFamily="34" charset="0"/>
              <a:buChar char="•"/>
            </a:pPr>
            <a:r>
              <a:rPr lang="en-US" dirty="0" smtClean="0">
                <a:solidFill>
                  <a:srgbClr val="C0C0C0"/>
                </a:solidFill>
              </a:rPr>
              <a:t>With environment </a:t>
            </a:r>
            <a:r>
              <a:rPr lang="en-US" b="1" dirty="0" smtClean="0">
                <a:solidFill>
                  <a:srgbClr val="C0C0C0"/>
                </a:solidFill>
              </a:rPr>
              <a:t>efficiencies</a:t>
            </a:r>
            <a:r>
              <a:rPr lang="en-US" dirty="0" smtClean="0">
                <a:solidFill>
                  <a:srgbClr val="C0C0C0"/>
                </a:solidFill>
              </a:rPr>
              <a:t> that save energy and cos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67606" y="1598610"/>
            <a:ext cx="7224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gradFill flip="none" rotWithShape="1">
                  <a:gsLst>
                    <a:gs pos="0">
                      <a:srgbClr val="807F83">
                        <a:lumMod val="60000"/>
                        <a:lumOff val="40000"/>
                      </a:srgbClr>
                    </a:gs>
                    <a:gs pos="100000">
                      <a:srgbClr val="807F83">
                        <a:lumMod val="20000"/>
                        <a:lumOff val="80000"/>
                      </a:srgbClr>
                    </a:gs>
                  </a:gsLst>
                  <a:lin ang="16200000" scaled="0"/>
                  <a:tileRect/>
                </a:gradFill>
              </a:rPr>
              <a:t>Together we need to innovate…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6811813" y="1032512"/>
            <a:ext cx="1689100" cy="1689100"/>
            <a:chOff x="6811813" y="1032512"/>
            <a:chExt cx="1689100" cy="1689100"/>
          </a:xfrm>
        </p:grpSpPr>
        <p:sp>
          <p:nvSpPr>
            <p:cNvPr id="8" name="Oval 7"/>
            <p:cNvSpPr/>
            <p:nvPr/>
          </p:nvSpPr>
          <p:spPr>
            <a:xfrm>
              <a:off x="6811813" y="1032512"/>
              <a:ext cx="1689100" cy="1689100"/>
            </a:xfrm>
            <a:prstGeom prst="ellipse">
              <a:avLst/>
            </a:prstGeom>
            <a:gradFill flip="none" rotWithShape="1">
              <a:gsLst>
                <a:gs pos="7000">
                  <a:schemeClr val="tx1">
                    <a:alpha val="81000"/>
                  </a:schemeClr>
                </a:gs>
                <a:gs pos="59000">
                  <a:srgbClr val="000000">
                    <a:alpha val="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 descr="iStock_000008062626Medium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069539" y="1248996"/>
              <a:ext cx="1095271" cy="1444134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gTGPBO8EO.7Y0L7IzV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KktnbwUU6mqim7ODAi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q5kGxGE6T3muTVFNn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DsaWUYWU2ESLRlw6Ng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q5kGxGE6T3muTVFNn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DsaWUYWU2ESLRlw6Ng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KMRLHXtECskxlA4vqm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kfG5jw70Sx5zx1TScn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8LqLvyc0WvLoV7gsR6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sXBTXbr0yUt.MEHaH3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_lHb0rVU2GfipUCnKG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7kr72e90G1oOm0Kq.u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Ui2EiiUUmMSBxsmH4h2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Rs_Sazk0CUar2nTsgi_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naQTgQcE64evhL5E9G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TbVmdq5EGGnfYG104Y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kFz6M1b0qPyoIP_6Xp6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kFz6M1b0qPyoIP_6Xp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2U3ac88kib1ldHIuGy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DsaWUYWU2ESLRlw6Ng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lInkzcFEa5Sdqm3XDF6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kFz6M1b0qPyoIP_6Xp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KMRLHXtECskxlA4vqm4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wKggTEsEyDjnXPrP4a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2seMBN6Ui1Yf3qvogm_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XbnbUQAkWWPLt22wCI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gpagQRqEm8h2LTxltx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usqbYxWUKm0Cs1Xt9l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a2TMrxkU61C4OSc7AD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DsaWUYWU2ESLRlw6Ng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a2TMrxkU61C4OSc7ADF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j5PME.kC14rljd52t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gpagQRqEm8h2LTxltxy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usqbYxWUKm0Cs1Xt9l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XnhXSI6U6Wr3MTq8bKe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nBeRuoikWsxvcDMHA9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_EEBv3lkmJ1BfNnclS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kFz6M1b0qPyoIP_6Xp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6DQB.XLUefo0tq8hr9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IWrnVD_ESthI8g8iVpeQ"/>
</p:tagLst>
</file>

<file path=ppt/theme/theme1.xml><?xml version="1.0" encoding="utf-8"?>
<a:theme xmlns:a="http://schemas.openxmlformats.org/drawingml/2006/main" name="JN lg venue template design file">
  <a:themeElements>
    <a:clrScheme name="Juniper themes Light">
      <a:dk1>
        <a:srgbClr val="FEFFFF"/>
      </a:dk1>
      <a:lt1>
        <a:srgbClr val="000000"/>
      </a:lt1>
      <a:dk2>
        <a:srgbClr val="93220B"/>
      </a:dk2>
      <a:lt2>
        <a:srgbClr val="5C852D"/>
      </a:lt2>
      <a:accent1>
        <a:srgbClr val="0067AC"/>
      </a:accent1>
      <a:accent2>
        <a:srgbClr val="BFC16B"/>
      </a:accent2>
      <a:accent3>
        <a:srgbClr val="F26649"/>
      </a:accent3>
      <a:accent4>
        <a:srgbClr val="2F8D7D"/>
      </a:accent4>
      <a:accent5>
        <a:srgbClr val="7EB0CC"/>
      </a:accent5>
      <a:accent6>
        <a:srgbClr val="807F83"/>
      </a:accent6>
      <a:hlink>
        <a:srgbClr val="F26649"/>
      </a:hlink>
      <a:folHlink>
        <a:srgbClr val="F79646"/>
      </a:folHlink>
    </a:clrScheme>
    <a:fontScheme name="JuniperTemplate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presenter title">
      <a:srgbClr val="EAEAEA"/>
    </a:custClr>
    <a:custClr name="text title">
      <a:srgbClr val="C0C0C0"/>
    </a:custClr>
    <a:custClr name="subtitle blue">
      <a:srgbClr val="5D87A1"/>
    </a:custClr>
    <a:custClr name="axis">
      <a:srgbClr val="807F83"/>
    </a:custClr>
  </a:custClr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Juniper themes Light">
    <a:dk1>
      <a:srgbClr val="FEFFFF"/>
    </a:dk1>
    <a:lt1>
      <a:srgbClr val="000000"/>
    </a:lt1>
    <a:dk2>
      <a:srgbClr val="93220B"/>
    </a:dk2>
    <a:lt2>
      <a:srgbClr val="5C852D"/>
    </a:lt2>
    <a:accent1>
      <a:srgbClr val="0067AC"/>
    </a:accent1>
    <a:accent2>
      <a:srgbClr val="BFC16B"/>
    </a:accent2>
    <a:accent3>
      <a:srgbClr val="F26649"/>
    </a:accent3>
    <a:accent4>
      <a:srgbClr val="2F8D7D"/>
    </a:accent4>
    <a:accent5>
      <a:srgbClr val="7EB0CC"/>
    </a:accent5>
    <a:accent6>
      <a:srgbClr val="807F83"/>
    </a:accent6>
    <a:hlink>
      <a:srgbClr val="F26649"/>
    </a:hlink>
    <a:folHlink>
      <a:srgbClr val="F79646"/>
    </a:folHlink>
  </a:clrScheme>
  <a:fontScheme name="JuniperTemplate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Juniper themes Light">
    <a:dk1>
      <a:srgbClr val="FEFFFF"/>
    </a:dk1>
    <a:lt1>
      <a:srgbClr val="000000"/>
    </a:lt1>
    <a:dk2>
      <a:srgbClr val="93220B"/>
    </a:dk2>
    <a:lt2>
      <a:srgbClr val="5C852D"/>
    </a:lt2>
    <a:accent1>
      <a:srgbClr val="0067AC"/>
    </a:accent1>
    <a:accent2>
      <a:srgbClr val="BFC16B"/>
    </a:accent2>
    <a:accent3>
      <a:srgbClr val="F26649"/>
    </a:accent3>
    <a:accent4>
      <a:srgbClr val="2F8D7D"/>
    </a:accent4>
    <a:accent5>
      <a:srgbClr val="7EB0CC"/>
    </a:accent5>
    <a:accent6>
      <a:srgbClr val="807F83"/>
    </a:accent6>
    <a:hlink>
      <a:srgbClr val="F26649"/>
    </a:hlink>
    <a:folHlink>
      <a:srgbClr val="F79646"/>
    </a:folHlink>
  </a:clrScheme>
  <a:fontScheme name="JuniperTemplate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D3F500DD184B49A7E9E5FBD30A38F7" ma:contentTypeVersion="0" ma:contentTypeDescription="Create a new document." ma:contentTypeScope="" ma:versionID="edc089e10eb4f3931d1075be8fbc8d69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7851B688-ADB6-4A30-BB69-8D20CB4F7B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2B181C9B-7B91-474A-9131-51070CC5AF9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96147DF-E7D2-4C84-8E4A-1EA3657F9A14}">
  <ds:schemaRefs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JN lg venue template design file</Template>
  <TotalTime>2498</TotalTime>
  <Words>402</Words>
  <Application>Microsoft Office PowerPoint</Application>
  <PresentationFormat>On-screen Show (4:3)</PresentationFormat>
  <Paragraphs>138</Paragraphs>
  <Slides>8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JN lg venue template design file</vt:lpstr>
      <vt:lpstr>Custom Design</vt:lpstr>
      <vt:lpstr>think-cell Slide</vt:lpstr>
      <vt:lpstr>The breaking point?</vt:lpstr>
      <vt:lpstr>A Decade Of Change</vt:lpstr>
      <vt:lpstr>The connected culture</vt:lpstr>
      <vt:lpstr>internet traffic is growing</vt:lpstr>
      <vt:lpstr>At Current Pace Of Innovation  network investment Outpaces Revenue</vt:lpstr>
      <vt:lpstr>Driving To A Platform view</vt:lpstr>
      <vt:lpstr>Scale Or Fail</vt:lpstr>
      <vt:lpstr>Slide 8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YSE Keynote</dc:title>
  <dc:creator>luke.gordon</dc:creator>
  <cp:lastModifiedBy>Ray Rasmussen</cp:lastModifiedBy>
  <cp:revision>624</cp:revision>
  <dcterms:created xsi:type="dcterms:W3CDTF">2009-10-10T06:55:28Z</dcterms:created>
  <dcterms:modified xsi:type="dcterms:W3CDTF">2009-10-20T15:3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D3F500DD184B49A7E9E5FBD30A38F7</vt:lpwstr>
  </property>
</Properties>
</file>